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8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.emf"/><Relationship Id="rId2" Type="http://schemas.openxmlformats.org/officeDocument/2006/relationships/tags" Target="../tags/tag18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4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08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8464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08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975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98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08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126298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0520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slideLayout" Target="../slideLayouts/slideLayout4.xml"/><Relationship Id="rId18" Type="http://schemas.openxmlformats.org/officeDocument/2006/relationships/image" Target="../media/image8.emf"/><Relationship Id="rId3" Type="http://schemas.openxmlformats.org/officeDocument/2006/relationships/tags" Target="../tags/tag30.xml"/><Relationship Id="rId21" Type="http://schemas.openxmlformats.org/officeDocument/2006/relationships/image" Target="../media/image11.jpeg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7.emf"/><Relationship Id="rId2" Type="http://schemas.openxmlformats.org/officeDocument/2006/relationships/tags" Target="../tags/tag29.xml"/><Relationship Id="rId16" Type="http://schemas.openxmlformats.org/officeDocument/2006/relationships/image" Target="../media/image6.emf"/><Relationship Id="rId20" Type="http://schemas.openxmlformats.org/officeDocument/2006/relationships/image" Target="../media/image10.jpeg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7.xml"/><Relationship Id="rId19" Type="http://schemas.openxmlformats.org/officeDocument/2006/relationships/image" Target="../media/image9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6175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Leading asset management company in Asia – we executed a complete sales transformation with focused efforts on the retail channel 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595034" y="861107"/>
            <a:ext cx="3142566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595034" y="950007"/>
            <a:ext cx="3142566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950007"/>
            <a:ext cx="3381481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8" y="759507"/>
            <a:ext cx="3393466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671233" y="997632"/>
            <a:ext cx="2887254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745846" y="1062948"/>
            <a:ext cx="57708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04019"/>
            <a:ext cx="3398229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9" y="997632"/>
            <a:ext cx="3348520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062948"/>
            <a:ext cx="20907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759507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31569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950007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04019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997632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062948"/>
            <a:ext cx="76463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21494"/>
            <a:ext cx="1722438" cy="5041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One of the largest asset </a:t>
            </a:r>
            <a:r>
              <a:rPr lang="en-US" altLang="ja-JP" sz="1400" b="1">
                <a:solidFill>
                  <a:srgbClr val="0070C0"/>
                </a:solidFill>
              </a:rPr>
              <a:t>management companies </a:t>
            </a:r>
            <a:r>
              <a:rPr lang="en-US" altLang="ja-JP" sz="1400" b="1" dirty="0">
                <a:solidFill>
                  <a:srgbClr val="0070C0"/>
                </a:solidFill>
              </a:rPr>
              <a:t>in Asia by AUM </a:t>
            </a:r>
            <a:r>
              <a:rPr lang="en-US" altLang="ja-JP" sz="1400" dirty="0">
                <a:solidFill>
                  <a:srgbClr val="000000"/>
                </a:solidFill>
              </a:rPr>
              <a:t>with total Assets under Management more than $13 Billion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Declining market share in the past years </a:t>
            </a:r>
            <a:r>
              <a:rPr lang="en-US" altLang="ja-JP" sz="1400" dirty="0">
                <a:solidFill>
                  <a:srgbClr val="000000"/>
                </a:solidFill>
              </a:rPr>
              <a:t>– lost its leading position from being the pioneering, largest company to a less than 10% market shar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Recognized need for a holistic sales transformation program </a:t>
            </a:r>
            <a:r>
              <a:rPr lang="en-US" altLang="ja-JP" sz="1400" dirty="0">
                <a:solidFill>
                  <a:srgbClr val="000000"/>
                </a:solidFill>
              </a:rPr>
              <a:t>across channels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21494"/>
            <a:ext cx="3329472" cy="2973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Developed a segmentation approach </a:t>
            </a:r>
            <a:r>
              <a:rPr lang="en-US" altLang="ja-JP" sz="1400" dirty="0">
                <a:solidFill>
                  <a:srgbClr val="000000"/>
                </a:solidFill>
              </a:rPr>
              <a:t>to improve overall distribution channel share of busines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Created customized sales enhancement strategies </a:t>
            </a:r>
            <a:r>
              <a:rPr lang="en-US" altLang="ja-JP" sz="1400" dirty="0">
                <a:solidFill>
                  <a:srgbClr val="000000"/>
                </a:solidFill>
              </a:rPr>
              <a:t>across Bank/ND and retail channel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Refined the pricing structure </a:t>
            </a:r>
            <a:r>
              <a:rPr lang="en-US" altLang="ja-JP" sz="1400" dirty="0">
                <a:solidFill>
                  <a:srgbClr val="000000"/>
                </a:solidFill>
              </a:rPr>
              <a:t>to make it more attractive/ competitiv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Evaluated the product and marketing strategy </a:t>
            </a:r>
            <a:r>
              <a:rPr lang="en-US" altLang="ja-JP" sz="1400" dirty="0">
                <a:solidFill>
                  <a:srgbClr val="000000"/>
                </a:solidFill>
              </a:rPr>
              <a:t>to improve product empanelment and branding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Adopted a pilot and nation-wide roll-out approach </a:t>
            </a:r>
            <a:r>
              <a:rPr lang="en-US" altLang="ja-JP" sz="1400" dirty="0">
                <a:solidFill>
                  <a:srgbClr val="000000"/>
                </a:solidFill>
              </a:rPr>
              <a:t>across ~150 branches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375150"/>
            <a:ext cx="20907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 dirty="0" err="1">
                <a:solidFill>
                  <a:srgbClr val="000000"/>
                </a:solidFill>
              </a:rPr>
              <a:t>M&amp;S</a:t>
            </a:r>
            <a:r>
              <a:rPr lang="en-US" altLang="ja-JP" sz="1400" b="1" dirty="0">
                <a:solidFill>
                  <a:srgbClr val="000000"/>
                </a:solidFill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601934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29" name="Picture 43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5413816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2898012" y="5418925"/>
            <a:ext cx="7595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Suparna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Biswas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pic>
        <p:nvPicPr>
          <p:cNvPr id="19482" name="Picture 26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00" y="5413815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Rectangle 103"/>
          <p:cNvSpPr>
            <a:spLocks noChangeArrowheads="1"/>
          </p:cNvSpPr>
          <p:nvPr/>
        </p:nvSpPr>
        <p:spPr bwMode="gray">
          <a:xfrm>
            <a:off x="4688094" y="5435035"/>
            <a:ext cx="7595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Anis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Mankad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4" name="Rectangle 103"/>
          <p:cNvSpPr>
            <a:spLocks noChangeArrowheads="1"/>
          </p:cNvSpPr>
          <p:nvPr/>
        </p:nvSpPr>
        <p:spPr bwMode="gray">
          <a:xfrm>
            <a:off x="2898012" y="4695940"/>
            <a:ext cx="7595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Peeyush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Dalmi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6" name="Rectangle 103"/>
          <p:cNvSpPr>
            <a:spLocks noChangeArrowheads="1"/>
          </p:cNvSpPr>
          <p:nvPr/>
        </p:nvSpPr>
        <p:spPr bwMode="gray">
          <a:xfrm>
            <a:off x="4676366" y="4695939"/>
            <a:ext cx="7595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Ruchi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Kalr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pic>
        <p:nvPicPr>
          <p:cNvPr id="19486" name="Picture 30"/>
          <p:cNvPicPr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4624513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Rectangle 93"/>
          <p:cNvSpPr>
            <a:spLocks noChangeArrowheads="1"/>
          </p:cNvSpPr>
          <p:nvPr/>
        </p:nvSpPr>
        <p:spPr bwMode="gray">
          <a:xfrm>
            <a:off x="5671232" y="1479550"/>
            <a:ext cx="3066367" cy="6894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Dramatic increase in branch scorecards against sales SOP</a:t>
            </a:r>
          </a:p>
          <a:p>
            <a:pPr marL="1587" lvl="1" indent="0">
              <a:spcBef>
                <a:spcPct val="20000"/>
              </a:spcBef>
              <a:buClr>
                <a:srgbClr val="000000"/>
              </a:buClr>
              <a:buFont typeface="Arial" charset="0"/>
              <a:buNone/>
            </a:pPr>
            <a:r>
              <a:rPr lang="en-US" altLang="ja-JP" sz="1400" dirty="0">
                <a:solidFill>
                  <a:srgbClr val="000000"/>
                </a:solidFill>
              </a:rPr>
              <a:t>N = 33 pilot branches</a:t>
            </a:r>
          </a:p>
        </p:txBody>
      </p:sp>
      <p:sp>
        <p:nvSpPr>
          <p:cNvPr id="39" name="Line 75"/>
          <p:cNvSpPr>
            <a:spLocks noChangeShapeType="1"/>
          </p:cNvSpPr>
          <p:nvPr/>
        </p:nvSpPr>
        <p:spPr bwMode="auto">
          <a:xfrm>
            <a:off x="5661328" y="4887019"/>
            <a:ext cx="27847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63500" tIns="90000" rIns="63500" bIns="90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40" name="Line 76"/>
          <p:cNvSpPr>
            <a:spLocks noChangeShapeType="1"/>
          </p:cNvSpPr>
          <p:nvPr/>
        </p:nvSpPr>
        <p:spPr bwMode="auto">
          <a:xfrm>
            <a:off x="5661328" y="4062423"/>
            <a:ext cx="27847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63500" tIns="90000" rIns="63500" bIns="90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41" name="Line 77"/>
          <p:cNvSpPr>
            <a:spLocks noChangeShapeType="1"/>
          </p:cNvSpPr>
          <p:nvPr/>
        </p:nvSpPr>
        <p:spPr bwMode="auto">
          <a:xfrm>
            <a:off x="5661328" y="3282956"/>
            <a:ext cx="27847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45791" dir="2021404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63500" tIns="90000" rIns="63500" bIns="90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42" name="AutoShape 29"/>
          <p:cNvCxnSpPr>
            <a:cxnSpLocks noChangeShapeType="1"/>
          </p:cNvCxnSpPr>
          <p:nvPr/>
        </p:nvCxnSpPr>
        <p:spPr bwMode="auto">
          <a:xfrm>
            <a:off x="5617786" y="2479469"/>
            <a:ext cx="1639360" cy="0"/>
          </a:xfrm>
          <a:prstGeom prst="straightConnector1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AutoShape 30"/>
          <p:cNvSpPr>
            <a:spLocks noChangeArrowheads="1"/>
          </p:cNvSpPr>
          <p:nvPr/>
        </p:nvSpPr>
        <p:spPr bwMode="auto">
          <a:xfrm>
            <a:off x="5675842" y="1984824"/>
            <a:ext cx="1863633" cy="4801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noAutofit/>
          </a:bodyPr>
          <a:lstStyle/>
          <a:p>
            <a:pPr defTabSz="895350"/>
            <a:r>
              <a:rPr lang="en-US" sz="1400" b="1" dirty="0">
                <a:solidFill>
                  <a:srgbClr val="00ADEF"/>
                </a:solidFill>
              </a:rPr>
              <a:t>Achievement level</a:t>
            </a:r>
          </a:p>
        </p:txBody>
      </p:sp>
      <p:cxnSp>
        <p:nvCxnSpPr>
          <p:cNvPr id="44" name="AutoShape 29"/>
          <p:cNvCxnSpPr>
            <a:cxnSpLocks noChangeShapeType="1"/>
          </p:cNvCxnSpPr>
          <p:nvPr/>
        </p:nvCxnSpPr>
        <p:spPr bwMode="auto">
          <a:xfrm>
            <a:off x="7345720" y="2479469"/>
            <a:ext cx="1391880" cy="0"/>
          </a:xfrm>
          <a:prstGeom prst="straightConnector1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utoShape 30"/>
          <p:cNvSpPr>
            <a:spLocks noChangeArrowheads="1"/>
          </p:cNvSpPr>
          <p:nvPr/>
        </p:nvSpPr>
        <p:spPr bwMode="auto">
          <a:xfrm>
            <a:off x="7345720" y="1999338"/>
            <a:ext cx="1443404" cy="4801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noAutofit/>
          </a:bodyPr>
          <a:lstStyle/>
          <a:p>
            <a:pPr defTabSz="895350"/>
            <a:r>
              <a:rPr lang="en-US" sz="1400" b="1" dirty="0">
                <a:solidFill>
                  <a:srgbClr val="00ADEF"/>
                </a:solidFill>
              </a:rPr>
              <a:t>No. of branches</a:t>
            </a:r>
          </a:p>
        </p:txBody>
      </p:sp>
      <p:sp>
        <p:nvSpPr>
          <p:cNvPr id="46" name="Rectangle 79"/>
          <p:cNvSpPr txBox="1">
            <a:spLocks noChangeArrowheads="1"/>
          </p:cNvSpPr>
          <p:nvPr/>
        </p:nvSpPr>
        <p:spPr bwMode="auto">
          <a:xfrm>
            <a:off x="5703661" y="5022857"/>
            <a:ext cx="328811" cy="397201"/>
          </a:xfrm>
          <a:prstGeom prst="rect">
            <a:avLst/>
          </a:prstGeom>
          <a:solidFill>
            <a:srgbClr val="FF5050"/>
          </a:solidFill>
          <a:ln w="19050" algn="ctr">
            <a:solidFill>
              <a:srgbClr val="808080"/>
            </a:solidFill>
            <a:prstDash val="solid"/>
            <a:miter lim="800000"/>
            <a:headEnd/>
            <a:tailEnd/>
          </a:ln>
          <a:effectLst>
            <a:outerShdw dist="45791" dir="2021404" algn="ctr" rotWithShape="0">
              <a:srgbClr val="808080">
                <a:alpha val="50000"/>
              </a:srgbClr>
            </a:outerShdw>
          </a:effectLst>
          <a:extLst/>
        </p:spPr>
        <p:txBody>
          <a:bodyPr vert="horz" wrap="square" lIns="63500" tIns="90000" rIns="63500" bIns="9000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47" name="Rectangle 14"/>
          <p:cNvSpPr txBox="1">
            <a:spLocks/>
          </p:cNvSpPr>
          <p:nvPr/>
        </p:nvSpPr>
        <p:spPr>
          <a:xfrm>
            <a:off x="6124795" y="4990206"/>
            <a:ext cx="151357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Red level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1&lt;Score &lt; 2.5</a:t>
            </a:r>
          </a:p>
        </p:txBody>
      </p:sp>
      <p:sp>
        <p:nvSpPr>
          <p:cNvPr id="48" name="Rectangle 14"/>
          <p:cNvSpPr txBox="1">
            <a:spLocks/>
          </p:cNvSpPr>
          <p:nvPr/>
        </p:nvSpPr>
        <p:spPr>
          <a:xfrm>
            <a:off x="6124795" y="3386144"/>
            <a:ext cx="13716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Gold level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3.6 &lt; Score &lt; 4.5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5633321" y="3386145"/>
            <a:ext cx="495873" cy="517134"/>
            <a:chOff x="5646036" y="2835275"/>
            <a:chExt cx="563563" cy="776213"/>
          </a:xfrm>
        </p:grpSpPr>
        <p:sp>
          <p:nvSpPr>
            <p:cNvPr id="50" name="Freeform 57"/>
            <p:cNvSpPr>
              <a:spLocks/>
            </p:cNvSpPr>
            <p:nvPr/>
          </p:nvSpPr>
          <p:spPr bwMode="auto">
            <a:xfrm>
              <a:off x="5653626" y="3200400"/>
              <a:ext cx="555973" cy="411088"/>
            </a:xfrm>
            <a:custGeom>
              <a:avLst/>
              <a:gdLst>
                <a:gd name="T0" fmla="*/ 414 w 1758"/>
                <a:gd name="T1" fmla="*/ 6 h 1299"/>
                <a:gd name="T2" fmla="*/ 0 w 1758"/>
                <a:gd name="T3" fmla="*/ 1083 h 1299"/>
                <a:gd name="T4" fmla="*/ 435 w 1758"/>
                <a:gd name="T5" fmla="*/ 831 h 1299"/>
                <a:gd name="T6" fmla="*/ 540 w 1758"/>
                <a:gd name="T7" fmla="*/ 1299 h 1299"/>
                <a:gd name="T8" fmla="*/ 837 w 1758"/>
                <a:gd name="T9" fmla="*/ 564 h 1299"/>
                <a:gd name="T10" fmla="*/ 1275 w 1758"/>
                <a:gd name="T11" fmla="*/ 1260 h 1299"/>
                <a:gd name="T12" fmla="*/ 1383 w 1758"/>
                <a:gd name="T13" fmla="*/ 852 h 1299"/>
                <a:gd name="T14" fmla="*/ 1758 w 1758"/>
                <a:gd name="T15" fmla="*/ 945 h 1299"/>
                <a:gd name="T16" fmla="*/ 1299 w 1758"/>
                <a:gd name="T17" fmla="*/ 255 h 1299"/>
                <a:gd name="T18" fmla="*/ 1131 w 1758"/>
                <a:gd name="T19" fmla="*/ 0 h 1299"/>
                <a:gd name="T20" fmla="*/ 858 w 1758"/>
                <a:gd name="T21" fmla="*/ 30 h 1299"/>
                <a:gd name="T22" fmla="*/ 414 w 1758"/>
                <a:gd name="T23" fmla="*/ 6 h 129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58" h="1299">
                  <a:moveTo>
                    <a:pt x="414" y="6"/>
                  </a:moveTo>
                  <a:cubicBezTo>
                    <a:pt x="234" y="627"/>
                    <a:pt x="0" y="1083"/>
                    <a:pt x="0" y="1083"/>
                  </a:cubicBezTo>
                  <a:cubicBezTo>
                    <a:pt x="78" y="1098"/>
                    <a:pt x="435" y="831"/>
                    <a:pt x="435" y="831"/>
                  </a:cubicBezTo>
                  <a:cubicBezTo>
                    <a:pt x="501" y="1065"/>
                    <a:pt x="531" y="1293"/>
                    <a:pt x="540" y="1299"/>
                  </a:cubicBezTo>
                  <a:cubicBezTo>
                    <a:pt x="669" y="1125"/>
                    <a:pt x="837" y="564"/>
                    <a:pt x="837" y="564"/>
                  </a:cubicBezTo>
                  <a:cubicBezTo>
                    <a:pt x="963" y="807"/>
                    <a:pt x="1184" y="1212"/>
                    <a:pt x="1275" y="1260"/>
                  </a:cubicBezTo>
                  <a:lnTo>
                    <a:pt x="1383" y="852"/>
                  </a:lnTo>
                  <a:cubicBezTo>
                    <a:pt x="1383" y="852"/>
                    <a:pt x="1587" y="945"/>
                    <a:pt x="1758" y="945"/>
                  </a:cubicBezTo>
                  <a:cubicBezTo>
                    <a:pt x="1611" y="819"/>
                    <a:pt x="1403" y="412"/>
                    <a:pt x="1299" y="255"/>
                  </a:cubicBezTo>
                  <a:lnTo>
                    <a:pt x="1131" y="0"/>
                  </a:lnTo>
                  <a:lnTo>
                    <a:pt x="858" y="30"/>
                  </a:lnTo>
                  <a:cubicBezTo>
                    <a:pt x="858" y="30"/>
                    <a:pt x="636" y="18"/>
                    <a:pt x="414" y="6"/>
                  </a:cubicBezTo>
                  <a:close/>
                </a:path>
              </a:pathLst>
            </a:custGeom>
            <a:solidFill>
              <a:srgbClr val="FFD700"/>
            </a:solidFill>
            <a:ln w="9525">
              <a:solidFill>
                <a:srgbClr val="FFD7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59"/>
            <p:cNvSpPr>
              <a:spLocks/>
            </p:cNvSpPr>
            <p:nvPr/>
          </p:nvSpPr>
          <p:spPr bwMode="auto">
            <a:xfrm>
              <a:off x="5646036" y="2835275"/>
              <a:ext cx="518023" cy="512356"/>
            </a:xfrm>
            <a:custGeom>
              <a:avLst/>
              <a:gdLst>
                <a:gd name="T0" fmla="*/ 283 w 4916"/>
                <a:gd name="T1" fmla="*/ 5 h 4859"/>
                <a:gd name="T2" fmla="*/ 310 w 4916"/>
                <a:gd name="T3" fmla="*/ 28 h 4859"/>
                <a:gd name="T4" fmla="*/ 331 w 4916"/>
                <a:gd name="T5" fmla="*/ 41 h 4859"/>
                <a:gd name="T6" fmla="*/ 363 w 4916"/>
                <a:gd name="T7" fmla="*/ 43 h 4859"/>
                <a:gd name="T8" fmla="*/ 409 w 4916"/>
                <a:gd name="T9" fmla="*/ 40 h 4859"/>
                <a:gd name="T10" fmla="*/ 435 w 4916"/>
                <a:gd name="T11" fmla="*/ 48 h 4859"/>
                <a:gd name="T12" fmla="*/ 446 w 4916"/>
                <a:gd name="T13" fmla="*/ 65 h 4859"/>
                <a:gd name="T14" fmla="*/ 453 w 4916"/>
                <a:gd name="T15" fmla="*/ 102 h 4859"/>
                <a:gd name="T16" fmla="*/ 465 w 4916"/>
                <a:gd name="T17" fmla="*/ 122 h 4859"/>
                <a:gd name="T18" fmla="*/ 497 w 4916"/>
                <a:gd name="T19" fmla="*/ 143 h 4859"/>
                <a:gd name="T20" fmla="*/ 529 w 4916"/>
                <a:gd name="T21" fmla="*/ 164 h 4859"/>
                <a:gd name="T22" fmla="*/ 541 w 4916"/>
                <a:gd name="T23" fmla="*/ 185 h 4859"/>
                <a:gd name="T24" fmla="*/ 537 w 4916"/>
                <a:gd name="T25" fmla="*/ 205 h 4859"/>
                <a:gd name="T26" fmla="*/ 521 w 4916"/>
                <a:gd name="T27" fmla="*/ 239 h 4859"/>
                <a:gd name="T28" fmla="*/ 520 w 4916"/>
                <a:gd name="T29" fmla="*/ 263 h 4859"/>
                <a:gd name="T30" fmla="*/ 538 w 4916"/>
                <a:gd name="T31" fmla="*/ 304 h 4859"/>
                <a:gd name="T32" fmla="*/ 546 w 4916"/>
                <a:gd name="T33" fmla="*/ 334 h 4859"/>
                <a:gd name="T34" fmla="*/ 539 w 4916"/>
                <a:gd name="T35" fmla="*/ 355 h 4859"/>
                <a:gd name="T36" fmla="*/ 517 w 4916"/>
                <a:gd name="T37" fmla="*/ 370 h 4859"/>
                <a:gd name="T38" fmla="*/ 488 w 4916"/>
                <a:gd name="T39" fmla="*/ 387 h 4859"/>
                <a:gd name="T40" fmla="*/ 475 w 4916"/>
                <a:gd name="T41" fmla="*/ 409 h 4859"/>
                <a:gd name="T42" fmla="*/ 463 w 4916"/>
                <a:gd name="T43" fmla="*/ 455 h 4859"/>
                <a:gd name="T44" fmla="*/ 450 w 4916"/>
                <a:gd name="T45" fmla="*/ 479 h 4859"/>
                <a:gd name="T46" fmla="*/ 431 w 4916"/>
                <a:gd name="T47" fmla="*/ 489 h 4859"/>
                <a:gd name="T48" fmla="*/ 398 w 4916"/>
                <a:gd name="T49" fmla="*/ 486 h 4859"/>
                <a:gd name="T50" fmla="*/ 370 w 4916"/>
                <a:gd name="T51" fmla="*/ 486 h 4859"/>
                <a:gd name="T52" fmla="*/ 345 w 4916"/>
                <a:gd name="T53" fmla="*/ 499 h 4859"/>
                <a:gd name="T54" fmla="*/ 307 w 4916"/>
                <a:gd name="T55" fmla="*/ 530 h 4859"/>
                <a:gd name="T56" fmla="*/ 281 w 4916"/>
                <a:gd name="T57" fmla="*/ 539 h 4859"/>
                <a:gd name="T58" fmla="*/ 261 w 4916"/>
                <a:gd name="T59" fmla="*/ 533 h 4859"/>
                <a:gd name="T60" fmla="*/ 232 w 4916"/>
                <a:gd name="T61" fmla="*/ 508 h 4859"/>
                <a:gd name="T62" fmla="*/ 212 w 4916"/>
                <a:gd name="T63" fmla="*/ 497 h 4859"/>
                <a:gd name="T64" fmla="*/ 176 w 4916"/>
                <a:gd name="T65" fmla="*/ 497 h 4859"/>
                <a:gd name="T66" fmla="*/ 133 w 4916"/>
                <a:gd name="T67" fmla="*/ 499 h 4859"/>
                <a:gd name="T68" fmla="*/ 109 w 4916"/>
                <a:gd name="T69" fmla="*/ 490 h 4859"/>
                <a:gd name="T70" fmla="*/ 99 w 4916"/>
                <a:gd name="T71" fmla="*/ 472 h 4859"/>
                <a:gd name="T72" fmla="*/ 92 w 4916"/>
                <a:gd name="T73" fmla="*/ 435 h 4859"/>
                <a:gd name="T74" fmla="*/ 79 w 4916"/>
                <a:gd name="T75" fmla="*/ 416 h 4859"/>
                <a:gd name="T76" fmla="*/ 43 w 4916"/>
                <a:gd name="T77" fmla="*/ 393 h 4859"/>
                <a:gd name="T78" fmla="*/ 14 w 4916"/>
                <a:gd name="T79" fmla="*/ 373 h 4859"/>
                <a:gd name="T80" fmla="*/ 4 w 4916"/>
                <a:gd name="T81" fmla="*/ 352 h 4859"/>
                <a:gd name="T82" fmla="*/ 11 w 4916"/>
                <a:gd name="T83" fmla="*/ 330 h 4859"/>
                <a:gd name="T84" fmla="*/ 26 w 4916"/>
                <a:gd name="T85" fmla="*/ 298 h 4859"/>
                <a:gd name="T86" fmla="*/ 24 w 4916"/>
                <a:gd name="T87" fmla="*/ 274 h 4859"/>
                <a:gd name="T88" fmla="*/ 6 w 4916"/>
                <a:gd name="T89" fmla="*/ 229 h 4859"/>
                <a:gd name="T90" fmla="*/ 0 w 4916"/>
                <a:gd name="T91" fmla="*/ 203 h 4859"/>
                <a:gd name="T92" fmla="*/ 8 w 4916"/>
                <a:gd name="T93" fmla="*/ 183 h 4859"/>
                <a:gd name="T94" fmla="*/ 33 w 4916"/>
                <a:gd name="T95" fmla="*/ 167 h 4859"/>
                <a:gd name="T96" fmla="*/ 60 w 4916"/>
                <a:gd name="T97" fmla="*/ 151 h 4859"/>
                <a:gd name="T98" fmla="*/ 72 w 4916"/>
                <a:gd name="T99" fmla="*/ 128 h 4859"/>
                <a:gd name="T100" fmla="*/ 84 w 4916"/>
                <a:gd name="T101" fmla="*/ 82 h 4859"/>
                <a:gd name="T102" fmla="*/ 98 w 4916"/>
                <a:gd name="T103" fmla="*/ 59 h 4859"/>
                <a:gd name="T104" fmla="*/ 117 w 4916"/>
                <a:gd name="T105" fmla="*/ 50 h 4859"/>
                <a:gd name="T106" fmla="*/ 154 w 4916"/>
                <a:gd name="T107" fmla="*/ 54 h 4859"/>
                <a:gd name="T108" fmla="*/ 179 w 4916"/>
                <a:gd name="T109" fmla="*/ 53 h 4859"/>
                <a:gd name="T110" fmla="*/ 206 w 4916"/>
                <a:gd name="T111" fmla="*/ 36 h 4859"/>
                <a:gd name="T112" fmla="*/ 242 w 4916"/>
                <a:gd name="T113" fmla="*/ 8 h 48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916" h="4859">
                  <a:moveTo>
                    <a:pt x="2386" y="1"/>
                  </a:moveTo>
                  <a:lnTo>
                    <a:pt x="2408" y="0"/>
                  </a:lnTo>
                  <a:lnTo>
                    <a:pt x="2429" y="2"/>
                  </a:lnTo>
                  <a:lnTo>
                    <a:pt x="2450" y="4"/>
                  </a:lnTo>
                  <a:lnTo>
                    <a:pt x="2470" y="10"/>
                  </a:lnTo>
                  <a:lnTo>
                    <a:pt x="2490" y="15"/>
                  </a:lnTo>
                  <a:lnTo>
                    <a:pt x="2509" y="24"/>
                  </a:lnTo>
                  <a:lnTo>
                    <a:pt x="2528" y="32"/>
                  </a:lnTo>
                  <a:lnTo>
                    <a:pt x="2546" y="42"/>
                  </a:lnTo>
                  <a:lnTo>
                    <a:pt x="2564" y="54"/>
                  </a:lnTo>
                  <a:lnTo>
                    <a:pt x="2583" y="67"/>
                  </a:lnTo>
                  <a:lnTo>
                    <a:pt x="2600" y="80"/>
                  </a:lnTo>
                  <a:lnTo>
                    <a:pt x="2617" y="94"/>
                  </a:lnTo>
                  <a:lnTo>
                    <a:pt x="2651" y="124"/>
                  </a:lnTo>
                  <a:lnTo>
                    <a:pt x="2686" y="156"/>
                  </a:lnTo>
                  <a:lnTo>
                    <a:pt x="2719" y="188"/>
                  </a:lnTo>
                  <a:lnTo>
                    <a:pt x="2754" y="222"/>
                  </a:lnTo>
                  <a:lnTo>
                    <a:pt x="2788" y="254"/>
                  </a:lnTo>
                  <a:lnTo>
                    <a:pt x="2824" y="284"/>
                  </a:lnTo>
                  <a:lnTo>
                    <a:pt x="2842" y="298"/>
                  </a:lnTo>
                  <a:lnTo>
                    <a:pt x="2860" y="312"/>
                  </a:lnTo>
                  <a:lnTo>
                    <a:pt x="2878" y="324"/>
                  </a:lnTo>
                  <a:lnTo>
                    <a:pt x="2898" y="336"/>
                  </a:lnTo>
                  <a:lnTo>
                    <a:pt x="2917" y="346"/>
                  </a:lnTo>
                  <a:lnTo>
                    <a:pt x="2938" y="356"/>
                  </a:lnTo>
                  <a:lnTo>
                    <a:pt x="2958" y="364"/>
                  </a:lnTo>
                  <a:lnTo>
                    <a:pt x="2978" y="371"/>
                  </a:lnTo>
                  <a:lnTo>
                    <a:pt x="3006" y="378"/>
                  </a:lnTo>
                  <a:lnTo>
                    <a:pt x="3034" y="383"/>
                  </a:lnTo>
                  <a:lnTo>
                    <a:pt x="3063" y="387"/>
                  </a:lnTo>
                  <a:lnTo>
                    <a:pt x="3092" y="391"/>
                  </a:lnTo>
                  <a:lnTo>
                    <a:pt x="3121" y="392"/>
                  </a:lnTo>
                  <a:lnTo>
                    <a:pt x="3151" y="393"/>
                  </a:lnTo>
                  <a:lnTo>
                    <a:pt x="3181" y="393"/>
                  </a:lnTo>
                  <a:lnTo>
                    <a:pt x="3210" y="392"/>
                  </a:lnTo>
                  <a:lnTo>
                    <a:pt x="3270" y="388"/>
                  </a:lnTo>
                  <a:lnTo>
                    <a:pt x="3330" y="383"/>
                  </a:lnTo>
                  <a:lnTo>
                    <a:pt x="3390" y="377"/>
                  </a:lnTo>
                  <a:lnTo>
                    <a:pt x="3451" y="370"/>
                  </a:lnTo>
                  <a:lnTo>
                    <a:pt x="3511" y="365"/>
                  </a:lnTo>
                  <a:lnTo>
                    <a:pt x="3570" y="360"/>
                  </a:lnTo>
                  <a:lnTo>
                    <a:pt x="3599" y="359"/>
                  </a:lnTo>
                  <a:lnTo>
                    <a:pt x="3628" y="359"/>
                  </a:lnTo>
                  <a:lnTo>
                    <a:pt x="3657" y="359"/>
                  </a:lnTo>
                  <a:lnTo>
                    <a:pt x="3686" y="361"/>
                  </a:lnTo>
                  <a:lnTo>
                    <a:pt x="3714" y="364"/>
                  </a:lnTo>
                  <a:lnTo>
                    <a:pt x="3742" y="368"/>
                  </a:lnTo>
                  <a:lnTo>
                    <a:pt x="3769" y="372"/>
                  </a:lnTo>
                  <a:lnTo>
                    <a:pt x="3796" y="380"/>
                  </a:lnTo>
                  <a:lnTo>
                    <a:pt x="3823" y="387"/>
                  </a:lnTo>
                  <a:lnTo>
                    <a:pt x="3849" y="397"/>
                  </a:lnTo>
                  <a:lnTo>
                    <a:pt x="3873" y="409"/>
                  </a:lnTo>
                  <a:lnTo>
                    <a:pt x="3898" y="422"/>
                  </a:lnTo>
                  <a:lnTo>
                    <a:pt x="3916" y="434"/>
                  </a:lnTo>
                  <a:lnTo>
                    <a:pt x="3933" y="446"/>
                  </a:lnTo>
                  <a:lnTo>
                    <a:pt x="3948" y="460"/>
                  </a:lnTo>
                  <a:lnTo>
                    <a:pt x="3962" y="475"/>
                  </a:lnTo>
                  <a:lnTo>
                    <a:pt x="3973" y="492"/>
                  </a:lnTo>
                  <a:lnTo>
                    <a:pt x="3984" y="509"/>
                  </a:lnTo>
                  <a:lnTo>
                    <a:pt x="3994" y="526"/>
                  </a:lnTo>
                  <a:lnTo>
                    <a:pt x="4002" y="545"/>
                  </a:lnTo>
                  <a:lnTo>
                    <a:pt x="4010" y="565"/>
                  </a:lnTo>
                  <a:lnTo>
                    <a:pt x="4016" y="584"/>
                  </a:lnTo>
                  <a:lnTo>
                    <a:pt x="4023" y="606"/>
                  </a:lnTo>
                  <a:lnTo>
                    <a:pt x="4028" y="626"/>
                  </a:lnTo>
                  <a:lnTo>
                    <a:pt x="4038" y="670"/>
                  </a:lnTo>
                  <a:lnTo>
                    <a:pt x="4046" y="715"/>
                  </a:lnTo>
                  <a:lnTo>
                    <a:pt x="4052" y="760"/>
                  </a:lnTo>
                  <a:lnTo>
                    <a:pt x="4059" y="806"/>
                  </a:lnTo>
                  <a:lnTo>
                    <a:pt x="4068" y="852"/>
                  </a:lnTo>
                  <a:lnTo>
                    <a:pt x="4078" y="896"/>
                  </a:lnTo>
                  <a:lnTo>
                    <a:pt x="4083" y="917"/>
                  </a:lnTo>
                  <a:lnTo>
                    <a:pt x="4090" y="939"/>
                  </a:lnTo>
                  <a:lnTo>
                    <a:pt x="4097" y="959"/>
                  </a:lnTo>
                  <a:lnTo>
                    <a:pt x="4106" y="980"/>
                  </a:lnTo>
                  <a:lnTo>
                    <a:pt x="4114" y="999"/>
                  </a:lnTo>
                  <a:lnTo>
                    <a:pt x="4125" y="1017"/>
                  </a:lnTo>
                  <a:lnTo>
                    <a:pt x="4137" y="1036"/>
                  </a:lnTo>
                  <a:lnTo>
                    <a:pt x="4149" y="1053"/>
                  </a:lnTo>
                  <a:lnTo>
                    <a:pt x="4167" y="1074"/>
                  </a:lnTo>
                  <a:lnTo>
                    <a:pt x="4186" y="1095"/>
                  </a:lnTo>
                  <a:lnTo>
                    <a:pt x="4207" y="1114"/>
                  </a:lnTo>
                  <a:lnTo>
                    <a:pt x="4228" y="1133"/>
                  </a:lnTo>
                  <a:lnTo>
                    <a:pt x="4251" y="1150"/>
                  </a:lnTo>
                  <a:lnTo>
                    <a:pt x="4275" y="1167"/>
                  </a:lnTo>
                  <a:lnTo>
                    <a:pt x="4298" y="1184"/>
                  </a:lnTo>
                  <a:lnTo>
                    <a:pt x="4323" y="1199"/>
                  </a:lnTo>
                  <a:lnTo>
                    <a:pt x="4374" y="1230"/>
                  </a:lnTo>
                  <a:lnTo>
                    <a:pt x="4426" y="1259"/>
                  </a:lnTo>
                  <a:lnTo>
                    <a:pt x="4479" y="1288"/>
                  </a:lnTo>
                  <a:lnTo>
                    <a:pt x="4532" y="1316"/>
                  </a:lnTo>
                  <a:lnTo>
                    <a:pt x="4583" y="1345"/>
                  </a:lnTo>
                  <a:lnTo>
                    <a:pt x="4634" y="1376"/>
                  </a:lnTo>
                  <a:lnTo>
                    <a:pt x="4658" y="1392"/>
                  </a:lnTo>
                  <a:lnTo>
                    <a:pt x="4681" y="1408"/>
                  </a:lnTo>
                  <a:lnTo>
                    <a:pt x="4704" y="1424"/>
                  </a:lnTo>
                  <a:lnTo>
                    <a:pt x="4726" y="1441"/>
                  </a:lnTo>
                  <a:lnTo>
                    <a:pt x="4748" y="1459"/>
                  </a:lnTo>
                  <a:lnTo>
                    <a:pt x="4767" y="1478"/>
                  </a:lnTo>
                  <a:lnTo>
                    <a:pt x="4787" y="1497"/>
                  </a:lnTo>
                  <a:lnTo>
                    <a:pt x="4804" y="1518"/>
                  </a:lnTo>
                  <a:lnTo>
                    <a:pt x="4820" y="1539"/>
                  </a:lnTo>
                  <a:lnTo>
                    <a:pt x="4835" y="1562"/>
                  </a:lnTo>
                  <a:lnTo>
                    <a:pt x="4849" y="1585"/>
                  </a:lnTo>
                  <a:lnTo>
                    <a:pt x="4861" y="1610"/>
                  </a:lnTo>
                  <a:lnTo>
                    <a:pt x="4868" y="1629"/>
                  </a:lnTo>
                  <a:lnTo>
                    <a:pt x="4874" y="1649"/>
                  </a:lnTo>
                  <a:lnTo>
                    <a:pt x="4877" y="1668"/>
                  </a:lnTo>
                  <a:lnTo>
                    <a:pt x="4878" y="1687"/>
                  </a:lnTo>
                  <a:lnTo>
                    <a:pt x="4878" y="1708"/>
                  </a:lnTo>
                  <a:lnTo>
                    <a:pt x="4876" y="1727"/>
                  </a:lnTo>
                  <a:lnTo>
                    <a:pt x="4873" y="1748"/>
                  </a:lnTo>
                  <a:lnTo>
                    <a:pt x="4868" y="1767"/>
                  </a:lnTo>
                  <a:lnTo>
                    <a:pt x="4863" y="1787"/>
                  </a:lnTo>
                  <a:lnTo>
                    <a:pt x="4856" y="1808"/>
                  </a:lnTo>
                  <a:lnTo>
                    <a:pt x="4848" y="1827"/>
                  </a:lnTo>
                  <a:lnTo>
                    <a:pt x="4839" y="1848"/>
                  </a:lnTo>
                  <a:lnTo>
                    <a:pt x="4820" y="1889"/>
                  </a:lnTo>
                  <a:lnTo>
                    <a:pt x="4798" y="1929"/>
                  </a:lnTo>
                  <a:lnTo>
                    <a:pt x="4776" y="1970"/>
                  </a:lnTo>
                  <a:lnTo>
                    <a:pt x="4753" y="2011"/>
                  </a:lnTo>
                  <a:lnTo>
                    <a:pt x="4732" y="2052"/>
                  </a:lnTo>
                  <a:lnTo>
                    <a:pt x="4712" y="2094"/>
                  </a:lnTo>
                  <a:lnTo>
                    <a:pt x="4704" y="2114"/>
                  </a:lnTo>
                  <a:lnTo>
                    <a:pt x="4696" y="2136"/>
                  </a:lnTo>
                  <a:lnTo>
                    <a:pt x="4690" y="2156"/>
                  </a:lnTo>
                  <a:lnTo>
                    <a:pt x="4683" y="2177"/>
                  </a:lnTo>
                  <a:lnTo>
                    <a:pt x="4679" y="2198"/>
                  </a:lnTo>
                  <a:lnTo>
                    <a:pt x="4676" y="2219"/>
                  </a:lnTo>
                  <a:lnTo>
                    <a:pt x="4674" y="2240"/>
                  </a:lnTo>
                  <a:lnTo>
                    <a:pt x="4674" y="2262"/>
                  </a:lnTo>
                  <a:lnTo>
                    <a:pt x="4676" y="2289"/>
                  </a:lnTo>
                  <a:lnTo>
                    <a:pt x="4678" y="2315"/>
                  </a:lnTo>
                  <a:lnTo>
                    <a:pt x="4683" y="2343"/>
                  </a:lnTo>
                  <a:lnTo>
                    <a:pt x="4689" y="2370"/>
                  </a:lnTo>
                  <a:lnTo>
                    <a:pt x="4696" y="2397"/>
                  </a:lnTo>
                  <a:lnTo>
                    <a:pt x="4705" y="2424"/>
                  </a:lnTo>
                  <a:lnTo>
                    <a:pt x="4714" y="2451"/>
                  </a:lnTo>
                  <a:lnTo>
                    <a:pt x="4723" y="2477"/>
                  </a:lnTo>
                  <a:lnTo>
                    <a:pt x="4746" y="2531"/>
                  </a:lnTo>
                  <a:lnTo>
                    <a:pt x="4769" y="2583"/>
                  </a:lnTo>
                  <a:lnTo>
                    <a:pt x="4794" y="2636"/>
                  </a:lnTo>
                  <a:lnTo>
                    <a:pt x="4820" y="2689"/>
                  </a:lnTo>
                  <a:lnTo>
                    <a:pt x="4844" y="2741"/>
                  </a:lnTo>
                  <a:lnTo>
                    <a:pt x="4866" y="2794"/>
                  </a:lnTo>
                  <a:lnTo>
                    <a:pt x="4876" y="2820"/>
                  </a:lnTo>
                  <a:lnTo>
                    <a:pt x="4885" y="2847"/>
                  </a:lnTo>
                  <a:lnTo>
                    <a:pt x="4893" y="2872"/>
                  </a:lnTo>
                  <a:lnTo>
                    <a:pt x="4901" y="2898"/>
                  </a:lnTo>
                  <a:lnTo>
                    <a:pt x="4906" y="2925"/>
                  </a:lnTo>
                  <a:lnTo>
                    <a:pt x="4911" y="2951"/>
                  </a:lnTo>
                  <a:lnTo>
                    <a:pt x="4915" y="2978"/>
                  </a:lnTo>
                  <a:lnTo>
                    <a:pt x="4916" y="3004"/>
                  </a:lnTo>
                  <a:lnTo>
                    <a:pt x="4916" y="3031"/>
                  </a:lnTo>
                  <a:lnTo>
                    <a:pt x="4915" y="3057"/>
                  </a:lnTo>
                  <a:lnTo>
                    <a:pt x="4910" y="3083"/>
                  </a:lnTo>
                  <a:lnTo>
                    <a:pt x="4905" y="3110"/>
                  </a:lnTo>
                  <a:lnTo>
                    <a:pt x="4899" y="3131"/>
                  </a:lnTo>
                  <a:lnTo>
                    <a:pt x="4891" y="3149"/>
                  </a:lnTo>
                  <a:lnTo>
                    <a:pt x="4881" y="3167"/>
                  </a:lnTo>
                  <a:lnTo>
                    <a:pt x="4871" y="3183"/>
                  </a:lnTo>
                  <a:lnTo>
                    <a:pt x="4859" y="3199"/>
                  </a:lnTo>
                  <a:lnTo>
                    <a:pt x="4845" y="3214"/>
                  </a:lnTo>
                  <a:lnTo>
                    <a:pt x="4830" y="3230"/>
                  </a:lnTo>
                  <a:lnTo>
                    <a:pt x="4814" y="3242"/>
                  </a:lnTo>
                  <a:lnTo>
                    <a:pt x="4797" y="3255"/>
                  </a:lnTo>
                  <a:lnTo>
                    <a:pt x="4779" y="3268"/>
                  </a:lnTo>
                  <a:lnTo>
                    <a:pt x="4761" y="3280"/>
                  </a:lnTo>
                  <a:lnTo>
                    <a:pt x="4740" y="3292"/>
                  </a:lnTo>
                  <a:lnTo>
                    <a:pt x="4701" y="3313"/>
                  </a:lnTo>
                  <a:lnTo>
                    <a:pt x="4658" y="3334"/>
                  </a:lnTo>
                  <a:lnTo>
                    <a:pt x="4615" y="3355"/>
                  </a:lnTo>
                  <a:lnTo>
                    <a:pt x="4570" y="3376"/>
                  </a:lnTo>
                  <a:lnTo>
                    <a:pt x="4528" y="3397"/>
                  </a:lnTo>
                  <a:lnTo>
                    <a:pt x="4487" y="3420"/>
                  </a:lnTo>
                  <a:lnTo>
                    <a:pt x="4467" y="3432"/>
                  </a:lnTo>
                  <a:lnTo>
                    <a:pt x="4448" y="3445"/>
                  </a:lnTo>
                  <a:lnTo>
                    <a:pt x="4430" y="3457"/>
                  </a:lnTo>
                  <a:lnTo>
                    <a:pt x="4411" y="3471"/>
                  </a:lnTo>
                  <a:lnTo>
                    <a:pt x="4395" y="3485"/>
                  </a:lnTo>
                  <a:lnTo>
                    <a:pt x="4379" y="3500"/>
                  </a:lnTo>
                  <a:lnTo>
                    <a:pt x="4365" y="3517"/>
                  </a:lnTo>
                  <a:lnTo>
                    <a:pt x="4352" y="3534"/>
                  </a:lnTo>
                  <a:lnTo>
                    <a:pt x="4336" y="3556"/>
                  </a:lnTo>
                  <a:lnTo>
                    <a:pt x="4322" y="3581"/>
                  </a:lnTo>
                  <a:lnTo>
                    <a:pt x="4309" y="3605"/>
                  </a:lnTo>
                  <a:lnTo>
                    <a:pt x="4297" y="3631"/>
                  </a:lnTo>
                  <a:lnTo>
                    <a:pt x="4286" y="3656"/>
                  </a:lnTo>
                  <a:lnTo>
                    <a:pt x="4277" y="3682"/>
                  </a:lnTo>
                  <a:lnTo>
                    <a:pt x="4267" y="3709"/>
                  </a:lnTo>
                  <a:lnTo>
                    <a:pt x="4259" y="3737"/>
                  </a:lnTo>
                  <a:lnTo>
                    <a:pt x="4243" y="3792"/>
                  </a:lnTo>
                  <a:lnTo>
                    <a:pt x="4231" y="3849"/>
                  </a:lnTo>
                  <a:lnTo>
                    <a:pt x="4218" y="3905"/>
                  </a:lnTo>
                  <a:lnTo>
                    <a:pt x="4206" y="3962"/>
                  </a:lnTo>
                  <a:lnTo>
                    <a:pt x="4193" y="4018"/>
                  </a:lnTo>
                  <a:lnTo>
                    <a:pt x="4178" y="4073"/>
                  </a:lnTo>
                  <a:lnTo>
                    <a:pt x="4170" y="4099"/>
                  </a:lnTo>
                  <a:lnTo>
                    <a:pt x="4162" y="4126"/>
                  </a:lnTo>
                  <a:lnTo>
                    <a:pt x="4152" y="4152"/>
                  </a:lnTo>
                  <a:lnTo>
                    <a:pt x="4141" y="4177"/>
                  </a:lnTo>
                  <a:lnTo>
                    <a:pt x="4130" y="4202"/>
                  </a:lnTo>
                  <a:lnTo>
                    <a:pt x="4118" y="4225"/>
                  </a:lnTo>
                  <a:lnTo>
                    <a:pt x="4104" y="4249"/>
                  </a:lnTo>
                  <a:lnTo>
                    <a:pt x="4090" y="4272"/>
                  </a:lnTo>
                  <a:lnTo>
                    <a:pt x="4072" y="4293"/>
                  </a:lnTo>
                  <a:lnTo>
                    <a:pt x="4055" y="4313"/>
                  </a:lnTo>
                  <a:lnTo>
                    <a:pt x="4036" y="4333"/>
                  </a:lnTo>
                  <a:lnTo>
                    <a:pt x="4014" y="4351"/>
                  </a:lnTo>
                  <a:lnTo>
                    <a:pt x="3997" y="4364"/>
                  </a:lnTo>
                  <a:lnTo>
                    <a:pt x="3980" y="4375"/>
                  </a:lnTo>
                  <a:lnTo>
                    <a:pt x="3961" y="4384"/>
                  </a:lnTo>
                  <a:lnTo>
                    <a:pt x="3942" y="4392"/>
                  </a:lnTo>
                  <a:lnTo>
                    <a:pt x="3922" y="4397"/>
                  </a:lnTo>
                  <a:lnTo>
                    <a:pt x="3901" y="4402"/>
                  </a:lnTo>
                  <a:lnTo>
                    <a:pt x="3881" y="4405"/>
                  </a:lnTo>
                  <a:lnTo>
                    <a:pt x="3859" y="4407"/>
                  </a:lnTo>
                  <a:lnTo>
                    <a:pt x="3838" y="4408"/>
                  </a:lnTo>
                  <a:lnTo>
                    <a:pt x="3815" y="4408"/>
                  </a:lnTo>
                  <a:lnTo>
                    <a:pt x="3793" y="4408"/>
                  </a:lnTo>
                  <a:lnTo>
                    <a:pt x="3770" y="4406"/>
                  </a:lnTo>
                  <a:lnTo>
                    <a:pt x="3724" y="4401"/>
                  </a:lnTo>
                  <a:lnTo>
                    <a:pt x="3677" y="4394"/>
                  </a:lnTo>
                  <a:lnTo>
                    <a:pt x="3629" y="4387"/>
                  </a:lnTo>
                  <a:lnTo>
                    <a:pt x="3581" y="4379"/>
                  </a:lnTo>
                  <a:lnTo>
                    <a:pt x="3533" y="4373"/>
                  </a:lnTo>
                  <a:lnTo>
                    <a:pt x="3486" y="4368"/>
                  </a:lnTo>
                  <a:lnTo>
                    <a:pt x="3462" y="4366"/>
                  </a:lnTo>
                  <a:lnTo>
                    <a:pt x="3439" y="4366"/>
                  </a:lnTo>
                  <a:lnTo>
                    <a:pt x="3416" y="4366"/>
                  </a:lnTo>
                  <a:lnTo>
                    <a:pt x="3394" y="4367"/>
                  </a:lnTo>
                  <a:lnTo>
                    <a:pt x="3371" y="4369"/>
                  </a:lnTo>
                  <a:lnTo>
                    <a:pt x="3350" y="4374"/>
                  </a:lnTo>
                  <a:lnTo>
                    <a:pt x="3328" y="4378"/>
                  </a:lnTo>
                  <a:lnTo>
                    <a:pt x="3307" y="4384"/>
                  </a:lnTo>
                  <a:lnTo>
                    <a:pt x="3280" y="4394"/>
                  </a:lnTo>
                  <a:lnTo>
                    <a:pt x="3254" y="4406"/>
                  </a:lnTo>
                  <a:lnTo>
                    <a:pt x="3228" y="4419"/>
                  </a:lnTo>
                  <a:lnTo>
                    <a:pt x="3202" y="4432"/>
                  </a:lnTo>
                  <a:lnTo>
                    <a:pt x="3177" y="4447"/>
                  </a:lnTo>
                  <a:lnTo>
                    <a:pt x="3154" y="4463"/>
                  </a:lnTo>
                  <a:lnTo>
                    <a:pt x="3130" y="4479"/>
                  </a:lnTo>
                  <a:lnTo>
                    <a:pt x="3106" y="4497"/>
                  </a:lnTo>
                  <a:lnTo>
                    <a:pt x="3060" y="4534"/>
                  </a:lnTo>
                  <a:lnTo>
                    <a:pt x="3014" y="4572"/>
                  </a:lnTo>
                  <a:lnTo>
                    <a:pt x="2970" y="4610"/>
                  </a:lnTo>
                  <a:lnTo>
                    <a:pt x="2925" y="4650"/>
                  </a:lnTo>
                  <a:lnTo>
                    <a:pt x="2879" y="4688"/>
                  </a:lnTo>
                  <a:lnTo>
                    <a:pt x="2833" y="4724"/>
                  </a:lnTo>
                  <a:lnTo>
                    <a:pt x="2811" y="4741"/>
                  </a:lnTo>
                  <a:lnTo>
                    <a:pt x="2787" y="4758"/>
                  </a:lnTo>
                  <a:lnTo>
                    <a:pt x="2763" y="4774"/>
                  </a:lnTo>
                  <a:lnTo>
                    <a:pt x="2740" y="4788"/>
                  </a:lnTo>
                  <a:lnTo>
                    <a:pt x="2715" y="4802"/>
                  </a:lnTo>
                  <a:lnTo>
                    <a:pt x="2690" y="4815"/>
                  </a:lnTo>
                  <a:lnTo>
                    <a:pt x="2665" y="4825"/>
                  </a:lnTo>
                  <a:lnTo>
                    <a:pt x="2640" y="4835"/>
                  </a:lnTo>
                  <a:lnTo>
                    <a:pt x="2613" y="4844"/>
                  </a:lnTo>
                  <a:lnTo>
                    <a:pt x="2586" y="4850"/>
                  </a:lnTo>
                  <a:lnTo>
                    <a:pt x="2558" y="4855"/>
                  </a:lnTo>
                  <a:lnTo>
                    <a:pt x="2530" y="4858"/>
                  </a:lnTo>
                  <a:lnTo>
                    <a:pt x="2508" y="4859"/>
                  </a:lnTo>
                  <a:lnTo>
                    <a:pt x="2487" y="4858"/>
                  </a:lnTo>
                  <a:lnTo>
                    <a:pt x="2466" y="4854"/>
                  </a:lnTo>
                  <a:lnTo>
                    <a:pt x="2446" y="4850"/>
                  </a:lnTo>
                  <a:lnTo>
                    <a:pt x="2427" y="4844"/>
                  </a:lnTo>
                  <a:lnTo>
                    <a:pt x="2407" y="4836"/>
                  </a:lnTo>
                  <a:lnTo>
                    <a:pt x="2388" y="4828"/>
                  </a:lnTo>
                  <a:lnTo>
                    <a:pt x="2370" y="4817"/>
                  </a:lnTo>
                  <a:lnTo>
                    <a:pt x="2351" y="4805"/>
                  </a:lnTo>
                  <a:lnTo>
                    <a:pt x="2333" y="4793"/>
                  </a:lnTo>
                  <a:lnTo>
                    <a:pt x="2316" y="4780"/>
                  </a:lnTo>
                  <a:lnTo>
                    <a:pt x="2299" y="4766"/>
                  </a:lnTo>
                  <a:lnTo>
                    <a:pt x="2264" y="4736"/>
                  </a:lnTo>
                  <a:lnTo>
                    <a:pt x="2230" y="4704"/>
                  </a:lnTo>
                  <a:lnTo>
                    <a:pt x="2196" y="4671"/>
                  </a:lnTo>
                  <a:lnTo>
                    <a:pt x="2162" y="4638"/>
                  </a:lnTo>
                  <a:lnTo>
                    <a:pt x="2128" y="4606"/>
                  </a:lnTo>
                  <a:lnTo>
                    <a:pt x="2092" y="4576"/>
                  </a:lnTo>
                  <a:lnTo>
                    <a:pt x="2074" y="4561"/>
                  </a:lnTo>
                  <a:lnTo>
                    <a:pt x="2055" y="4548"/>
                  </a:lnTo>
                  <a:lnTo>
                    <a:pt x="2037" y="4535"/>
                  </a:lnTo>
                  <a:lnTo>
                    <a:pt x="2018" y="4523"/>
                  </a:lnTo>
                  <a:lnTo>
                    <a:pt x="1998" y="4512"/>
                  </a:lnTo>
                  <a:lnTo>
                    <a:pt x="1978" y="4504"/>
                  </a:lnTo>
                  <a:lnTo>
                    <a:pt x="1958" y="4495"/>
                  </a:lnTo>
                  <a:lnTo>
                    <a:pt x="1937" y="4489"/>
                  </a:lnTo>
                  <a:lnTo>
                    <a:pt x="1909" y="4481"/>
                  </a:lnTo>
                  <a:lnTo>
                    <a:pt x="1881" y="4476"/>
                  </a:lnTo>
                  <a:lnTo>
                    <a:pt x="1852" y="4473"/>
                  </a:lnTo>
                  <a:lnTo>
                    <a:pt x="1823" y="4469"/>
                  </a:lnTo>
                  <a:lnTo>
                    <a:pt x="1794" y="4467"/>
                  </a:lnTo>
                  <a:lnTo>
                    <a:pt x="1765" y="4466"/>
                  </a:lnTo>
                  <a:lnTo>
                    <a:pt x="1736" y="4466"/>
                  </a:lnTo>
                  <a:lnTo>
                    <a:pt x="1706" y="4467"/>
                  </a:lnTo>
                  <a:lnTo>
                    <a:pt x="1646" y="4472"/>
                  </a:lnTo>
                  <a:lnTo>
                    <a:pt x="1585" y="4477"/>
                  </a:lnTo>
                  <a:lnTo>
                    <a:pt x="1525" y="4483"/>
                  </a:lnTo>
                  <a:lnTo>
                    <a:pt x="1465" y="4490"/>
                  </a:lnTo>
                  <a:lnTo>
                    <a:pt x="1405" y="4495"/>
                  </a:lnTo>
                  <a:lnTo>
                    <a:pt x="1346" y="4500"/>
                  </a:lnTo>
                  <a:lnTo>
                    <a:pt x="1316" y="4501"/>
                  </a:lnTo>
                  <a:lnTo>
                    <a:pt x="1287" y="4501"/>
                  </a:lnTo>
                  <a:lnTo>
                    <a:pt x="1258" y="4500"/>
                  </a:lnTo>
                  <a:lnTo>
                    <a:pt x="1230" y="4498"/>
                  </a:lnTo>
                  <a:lnTo>
                    <a:pt x="1201" y="4495"/>
                  </a:lnTo>
                  <a:lnTo>
                    <a:pt x="1175" y="4492"/>
                  </a:lnTo>
                  <a:lnTo>
                    <a:pt x="1147" y="4487"/>
                  </a:lnTo>
                  <a:lnTo>
                    <a:pt x="1120" y="4480"/>
                  </a:lnTo>
                  <a:lnTo>
                    <a:pt x="1094" y="4472"/>
                  </a:lnTo>
                  <a:lnTo>
                    <a:pt x="1068" y="4462"/>
                  </a:lnTo>
                  <a:lnTo>
                    <a:pt x="1042" y="4451"/>
                  </a:lnTo>
                  <a:lnTo>
                    <a:pt x="1017" y="4437"/>
                  </a:lnTo>
                  <a:lnTo>
                    <a:pt x="999" y="4425"/>
                  </a:lnTo>
                  <a:lnTo>
                    <a:pt x="983" y="4413"/>
                  </a:lnTo>
                  <a:lnTo>
                    <a:pt x="968" y="4400"/>
                  </a:lnTo>
                  <a:lnTo>
                    <a:pt x="955" y="4384"/>
                  </a:lnTo>
                  <a:lnTo>
                    <a:pt x="942" y="4368"/>
                  </a:lnTo>
                  <a:lnTo>
                    <a:pt x="931" y="4351"/>
                  </a:lnTo>
                  <a:lnTo>
                    <a:pt x="922" y="4333"/>
                  </a:lnTo>
                  <a:lnTo>
                    <a:pt x="913" y="4315"/>
                  </a:lnTo>
                  <a:lnTo>
                    <a:pt x="906" y="4295"/>
                  </a:lnTo>
                  <a:lnTo>
                    <a:pt x="899" y="4275"/>
                  </a:lnTo>
                  <a:lnTo>
                    <a:pt x="893" y="4254"/>
                  </a:lnTo>
                  <a:lnTo>
                    <a:pt x="887" y="4233"/>
                  </a:lnTo>
                  <a:lnTo>
                    <a:pt x="879" y="4190"/>
                  </a:lnTo>
                  <a:lnTo>
                    <a:pt x="870" y="4145"/>
                  </a:lnTo>
                  <a:lnTo>
                    <a:pt x="864" y="4099"/>
                  </a:lnTo>
                  <a:lnTo>
                    <a:pt x="856" y="4053"/>
                  </a:lnTo>
                  <a:lnTo>
                    <a:pt x="849" y="4008"/>
                  </a:lnTo>
                  <a:lnTo>
                    <a:pt x="838" y="3964"/>
                  </a:lnTo>
                  <a:lnTo>
                    <a:pt x="832" y="3941"/>
                  </a:lnTo>
                  <a:lnTo>
                    <a:pt x="826" y="3921"/>
                  </a:lnTo>
                  <a:lnTo>
                    <a:pt x="818" y="3899"/>
                  </a:lnTo>
                  <a:lnTo>
                    <a:pt x="811" y="3880"/>
                  </a:lnTo>
                  <a:lnTo>
                    <a:pt x="801" y="3861"/>
                  </a:lnTo>
                  <a:lnTo>
                    <a:pt x="790" y="3841"/>
                  </a:lnTo>
                  <a:lnTo>
                    <a:pt x="780" y="3823"/>
                  </a:lnTo>
                  <a:lnTo>
                    <a:pt x="767" y="3806"/>
                  </a:lnTo>
                  <a:lnTo>
                    <a:pt x="749" y="3785"/>
                  </a:lnTo>
                  <a:lnTo>
                    <a:pt x="729" y="3765"/>
                  </a:lnTo>
                  <a:lnTo>
                    <a:pt x="709" y="3746"/>
                  </a:lnTo>
                  <a:lnTo>
                    <a:pt x="687" y="3727"/>
                  </a:lnTo>
                  <a:lnTo>
                    <a:pt x="665" y="3709"/>
                  </a:lnTo>
                  <a:lnTo>
                    <a:pt x="641" y="3692"/>
                  </a:lnTo>
                  <a:lnTo>
                    <a:pt x="617" y="3676"/>
                  </a:lnTo>
                  <a:lnTo>
                    <a:pt x="593" y="3660"/>
                  </a:lnTo>
                  <a:lnTo>
                    <a:pt x="542" y="3630"/>
                  </a:lnTo>
                  <a:lnTo>
                    <a:pt x="490" y="3599"/>
                  </a:lnTo>
                  <a:lnTo>
                    <a:pt x="438" y="3571"/>
                  </a:lnTo>
                  <a:lnTo>
                    <a:pt x="385" y="3542"/>
                  </a:lnTo>
                  <a:lnTo>
                    <a:pt x="332" y="3513"/>
                  </a:lnTo>
                  <a:lnTo>
                    <a:pt x="283" y="3483"/>
                  </a:lnTo>
                  <a:lnTo>
                    <a:pt x="258" y="3468"/>
                  </a:lnTo>
                  <a:lnTo>
                    <a:pt x="234" y="3452"/>
                  </a:lnTo>
                  <a:lnTo>
                    <a:pt x="212" y="3436"/>
                  </a:lnTo>
                  <a:lnTo>
                    <a:pt x="189" y="3419"/>
                  </a:lnTo>
                  <a:lnTo>
                    <a:pt x="169" y="3400"/>
                  </a:lnTo>
                  <a:lnTo>
                    <a:pt x="148" y="3382"/>
                  </a:lnTo>
                  <a:lnTo>
                    <a:pt x="129" y="3362"/>
                  </a:lnTo>
                  <a:lnTo>
                    <a:pt x="112" y="3342"/>
                  </a:lnTo>
                  <a:lnTo>
                    <a:pt x="96" y="3321"/>
                  </a:lnTo>
                  <a:lnTo>
                    <a:pt x="81" y="3298"/>
                  </a:lnTo>
                  <a:lnTo>
                    <a:pt x="67" y="3275"/>
                  </a:lnTo>
                  <a:lnTo>
                    <a:pt x="55" y="3250"/>
                  </a:lnTo>
                  <a:lnTo>
                    <a:pt x="48" y="3231"/>
                  </a:lnTo>
                  <a:lnTo>
                    <a:pt x="43" y="3211"/>
                  </a:lnTo>
                  <a:lnTo>
                    <a:pt x="40" y="3191"/>
                  </a:lnTo>
                  <a:lnTo>
                    <a:pt x="38" y="3171"/>
                  </a:lnTo>
                  <a:lnTo>
                    <a:pt x="38" y="3152"/>
                  </a:lnTo>
                  <a:lnTo>
                    <a:pt x="40" y="3132"/>
                  </a:lnTo>
                  <a:lnTo>
                    <a:pt x="43" y="3112"/>
                  </a:lnTo>
                  <a:lnTo>
                    <a:pt x="47" y="3092"/>
                  </a:lnTo>
                  <a:lnTo>
                    <a:pt x="53" y="3072"/>
                  </a:lnTo>
                  <a:lnTo>
                    <a:pt x="60" y="3052"/>
                  </a:lnTo>
                  <a:lnTo>
                    <a:pt x="68" y="3032"/>
                  </a:lnTo>
                  <a:lnTo>
                    <a:pt x="76" y="3011"/>
                  </a:lnTo>
                  <a:lnTo>
                    <a:pt x="96" y="2971"/>
                  </a:lnTo>
                  <a:lnTo>
                    <a:pt x="117" y="2931"/>
                  </a:lnTo>
                  <a:lnTo>
                    <a:pt x="140" y="2890"/>
                  </a:lnTo>
                  <a:lnTo>
                    <a:pt x="162" y="2849"/>
                  </a:lnTo>
                  <a:lnTo>
                    <a:pt x="184" y="2807"/>
                  </a:lnTo>
                  <a:lnTo>
                    <a:pt x="203" y="2766"/>
                  </a:lnTo>
                  <a:lnTo>
                    <a:pt x="212" y="2745"/>
                  </a:lnTo>
                  <a:lnTo>
                    <a:pt x="219" y="2724"/>
                  </a:lnTo>
                  <a:lnTo>
                    <a:pt x="227" y="2704"/>
                  </a:lnTo>
                  <a:lnTo>
                    <a:pt x="232" y="2682"/>
                  </a:lnTo>
                  <a:lnTo>
                    <a:pt x="237" y="2662"/>
                  </a:lnTo>
                  <a:lnTo>
                    <a:pt x="240" y="2640"/>
                  </a:lnTo>
                  <a:lnTo>
                    <a:pt x="242" y="2620"/>
                  </a:lnTo>
                  <a:lnTo>
                    <a:pt x="242" y="2598"/>
                  </a:lnTo>
                  <a:lnTo>
                    <a:pt x="241" y="2571"/>
                  </a:lnTo>
                  <a:lnTo>
                    <a:pt x="238" y="2543"/>
                  </a:lnTo>
                  <a:lnTo>
                    <a:pt x="232" y="2517"/>
                  </a:lnTo>
                  <a:lnTo>
                    <a:pt x="227" y="2490"/>
                  </a:lnTo>
                  <a:lnTo>
                    <a:pt x="219" y="2463"/>
                  </a:lnTo>
                  <a:lnTo>
                    <a:pt x="212" y="2436"/>
                  </a:lnTo>
                  <a:lnTo>
                    <a:pt x="202" y="2409"/>
                  </a:lnTo>
                  <a:lnTo>
                    <a:pt x="192" y="2382"/>
                  </a:lnTo>
                  <a:lnTo>
                    <a:pt x="170" y="2329"/>
                  </a:lnTo>
                  <a:lnTo>
                    <a:pt x="146" y="2276"/>
                  </a:lnTo>
                  <a:lnTo>
                    <a:pt x="121" y="2223"/>
                  </a:lnTo>
                  <a:lnTo>
                    <a:pt x="97" y="2170"/>
                  </a:lnTo>
                  <a:lnTo>
                    <a:pt x="72" y="2119"/>
                  </a:lnTo>
                  <a:lnTo>
                    <a:pt x="50" y="2066"/>
                  </a:lnTo>
                  <a:lnTo>
                    <a:pt x="40" y="2039"/>
                  </a:lnTo>
                  <a:lnTo>
                    <a:pt x="31" y="2013"/>
                  </a:lnTo>
                  <a:lnTo>
                    <a:pt x="22" y="1987"/>
                  </a:lnTo>
                  <a:lnTo>
                    <a:pt x="15" y="1961"/>
                  </a:lnTo>
                  <a:lnTo>
                    <a:pt x="10" y="1935"/>
                  </a:lnTo>
                  <a:lnTo>
                    <a:pt x="5" y="1908"/>
                  </a:lnTo>
                  <a:lnTo>
                    <a:pt x="1" y="1882"/>
                  </a:lnTo>
                  <a:lnTo>
                    <a:pt x="0" y="1855"/>
                  </a:lnTo>
                  <a:lnTo>
                    <a:pt x="0" y="1828"/>
                  </a:lnTo>
                  <a:lnTo>
                    <a:pt x="2" y="1802"/>
                  </a:lnTo>
                  <a:lnTo>
                    <a:pt x="5" y="1776"/>
                  </a:lnTo>
                  <a:lnTo>
                    <a:pt x="11" y="1749"/>
                  </a:lnTo>
                  <a:lnTo>
                    <a:pt x="17" y="1729"/>
                  </a:lnTo>
                  <a:lnTo>
                    <a:pt x="25" y="1710"/>
                  </a:lnTo>
                  <a:lnTo>
                    <a:pt x="34" y="1693"/>
                  </a:lnTo>
                  <a:lnTo>
                    <a:pt x="45" y="1676"/>
                  </a:lnTo>
                  <a:lnTo>
                    <a:pt x="57" y="1659"/>
                  </a:lnTo>
                  <a:lnTo>
                    <a:pt x="71" y="1644"/>
                  </a:lnTo>
                  <a:lnTo>
                    <a:pt x="86" y="1630"/>
                  </a:lnTo>
                  <a:lnTo>
                    <a:pt x="102" y="1616"/>
                  </a:lnTo>
                  <a:lnTo>
                    <a:pt x="119" y="1604"/>
                  </a:lnTo>
                  <a:lnTo>
                    <a:pt x="136" y="1592"/>
                  </a:lnTo>
                  <a:lnTo>
                    <a:pt x="156" y="1580"/>
                  </a:lnTo>
                  <a:lnTo>
                    <a:pt x="175" y="1568"/>
                  </a:lnTo>
                  <a:lnTo>
                    <a:pt x="216" y="1547"/>
                  </a:lnTo>
                  <a:lnTo>
                    <a:pt x="258" y="1525"/>
                  </a:lnTo>
                  <a:lnTo>
                    <a:pt x="301" y="1505"/>
                  </a:lnTo>
                  <a:lnTo>
                    <a:pt x="345" y="1484"/>
                  </a:lnTo>
                  <a:lnTo>
                    <a:pt x="388" y="1463"/>
                  </a:lnTo>
                  <a:lnTo>
                    <a:pt x="429" y="1439"/>
                  </a:lnTo>
                  <a:lnTo>
                    <a:pt x="449" y="1427"/>
                  </a:lnTo>
                  <a:lnTo>
                    <a:pt x="468" y="1415"/>
                  </a:lnTo>
                  <a:lnTo>
                    <a:pt x="487" y="1402"/>
                  </a:lnTo>
                  <a:lnTo>
                    <a:pt x="504" y="1388"/>
                  </a:lnTo>
                  <a:lnTo>
                    <a:pt x="520" y="1373"/>
                  </a:lnTo>
                  <a:lnTo>
                    <a:pt x="537" y="1358"/>
                  </a:lnTo>
                  <a:lnTo>
                    <a:pt x="551" y="1342"/>
                  </a:lnTo>
                  <a:lnTo>
                    <a:pt x="564" y="1326"/>
                  </a:lnTo>
                  <a:lnTo>
                    <a:pt x="580" y="1302"/>
                  </a:lnTo>
                  <a:lnTo>
                    <a:pt x="594" y="1279"/>
                  </a:lnTo>
                  <a:lnTo>
                    <a:pt x="607" y="1254"/>
                  </a:lnTo>
                  <a:lnTo>
                    <a:pt x="618" y="1229"/>
                  </a:lnTo>
                  <a:lnTo>
                    <a:pt x="629" y="1203"/>
                  </a:lnTo>
                  <a:lnTo>
                    <a:pt x="640" y="1177"/>
                  </a:lnTo>
                  <a:lnTo>
                    <a:pt x="648" y="1150"/>
                  </a:lnTo>
                  <a:lnTo>
                    <a:pt x="657" y="1123"/>
                  </a:lnTo>
                  <a:lnTo>
                    <a:pt x="672" y="1067"/>
                  </a:lnTo>
                  <a:lnTo>
                    <a:pt x="685" y="1011"/>
                  </a:lnTo>
                  <a:lnTo>
                    <a:pt x="698" y="954"/>
                  </a:lnTo>
                  <a:lnTo>
                    <a:pt x="710" y="898"/>
                  </a:lnTo>
                  <a:lnTo>
                    <a:pt x="723" y="842"/>
                  </a:lnTo>
                  <a:lnTo>
                    <a:pt x="738" y="786"/>
                  </a:lnTo>
                  <a:lnTo>
                    <a:pt x="745" y="759"/>
                  </a:lnTo>
                  <a:lnTo>
                    <a:pt x="754" y="734"/>
                  </a:lnTo>
                  <a:lnTo>
                    <a:pt x="764" y="708"/>
                  </a:lnTo>
                  <a:lnTo>
                    <a:pt x="774" y="682"/>
                  </a:lnTo>
                  <a:lnTo>
                    <a:pt x="786" y="657"/>
                  </a:lnTo>
                  <a:lnTo>
                    <a:pt x="798" y="634"/>
                  </a:lnTo>
                  <a:lnTo>
                    <a:pt x="812" y="610"/>
                  </a:lnTo>
                  <a:lnTo>
                    <a:pt x="827" y="588"/>
                  </a:lnTo>
                  <a:lnTo>
                    <a:pt x="843" y="567"/>
                  </a:lnTo>
                  <a:lnTo>
                    <a:pt x="860" y="546"/>
                  </a:lnTo>
                  <a:lnTo>
                    <a:pt x="880" y="527"/>
                  </a:lnTo>
                  <a:lnTo>
                    <a:pt x="901" y="508"/>
                  </a:lnTo>
                  <a:lnTo>
                    <a:pt x="918" y="496"/>
                  </a:lnTo>
                  <a:lnTo>
                    <a:pt x="937" y="484"/>
                  </a:lnTo>
                  <a:lnTo>
                    <a:pt x="955" y="475"/>
                  </a:lnTo>
                  <a:lnTo>
                    <a:pt x="974" y="468"/>
                  </a:lnTo>
                  <a:lnTo>
                    <a:pt x="994" y="461"/>
                  </a:lnTo>
                  <a:lnTo>
                    <a:pt x="1014" y="457"/>
                  </a:lnTo>
                  <a:lnTo>
                    <a:pt x="1035" y="454"/>
                  </a:lnTo>
                  <a:lnTo>
                    <a:pt x="1056" y="452"/>
                  </a:lnTo>
                  <a:lnTo>
                    <a:pt x="1078" y="451"/>
                  </a:lnTo>
                  <a:lnTo>
                    <a:pt x="1100" y="451"/>
                  </a:lnTo>
                  <a:lnTo>
                    <a:pt x="1123" y="452"/>
                  </a:lnTo>
                  <a:lnTo>
                    <a:pt x="1145" y="453"/>
                  </a:lnTo>
                  <a:lnTo>
                    <a:pt x="1192" y="458"/>
                  </a:lnTo>
                  <a:lnTo>
                    <a:pt x="1239" y="465"/>
                  </a:lnTo>
                  <a:lnTo>
                    <a:pt x="1287" y="472"/>
                  </a:lnTo>
                  <a:lnTo>
                    <a:pt x="1335" y="480"/>
                  </a:lnTo>
                  <a:lnTo>
                    <a:pt x="1383" y="487"/>
                  </a:lnTo>
                  <a:lnTo>
                    <a:pt x="1431" y="492"/>
                  </a:lnTo>
                  <a:lnTo>
                    <a:pt x="1453" y="493"/>
                  </a:lnTo>
                  <a:lnTo>
                    <a:pt x="1477" y="494"/>
                  </a:lnTo>
                  <a:lnTo>
                    <a:pt x="1499" y="494"/>
                  </a:lnTo>
                  <a:lnTo>
                    <a:pt x="1522" y="492"/>
                  </a:lnTo>
                  <a:lnTo>
                    <a:pt x="1545" y="489"/>
                  </a:lnTo>
                  <a:lnTo>
                    <a:pt x="1567" y="486"/>
                  </a:lnTo>
                  <a:lnTo>
                    <a:pt x="1589" y="481"/>
                  </a:lnTo>
                  <a:lnTo>
                    <a:pt x="1609" y="474"/>
                  </a:lnTo>
                  <a:lnTo>
                    <a:pt x="1636" y="465"/>
                  </a:lnTo>
                  <a:lnTo>
                    <a:pt x="1663" y="454"/>
                  </a:lnTo>
                  <a:lnTo>
                    <a:pt x="1688" y="441"/>
                  </a:lnTo>
                  <a:lnTo>
                    <a:pt x="1713" y="427"/>
                  </a:lnTo>
                  <a:lnTo>
                    <a:pt x="1738" y="412"/>
                  </a:lnTo>
                  <a:lnTo>
                    <a:pt x="1762" y="397"/>
                  </a:lnTo>
                  <a:lnTo>
                    <a:pt x="1787" y="380"/>
                  </a:lnTo>
                  <a:lnTo>
                    <a:pt x="1810" y="363"/>
                  </a:lnTo>
                  <a:lnTo>
                    <a:pt x="1856" y="326"/>
                  </a:lnTo>
                  <a:lnTo>
                    <a:pt x="1902" y="287"/>
                  </a:lnTo>
                  <a:lnTo>
                    <a:pt x="1947" y="249"/>
                  </a:lnTo>
                  <a:lnTo>
                    <a:pt x="1991" y="210"/>
                  </a:lnTo>
                  <a:lnTo>
                    <a:pt x="2036" y="172"/>
                  </a:lnTo>
                  <a:lnTo>
                    <a:pt x="2082" y="136"/>
                  </a:lnTo>
                  <a:lnTo>
                    <a:pt x="2105" y="118"/>
                  </a:lnTo>
                  <a:lnTo>
                    <a:pt x="2129" y="101"/>
                  </a:lnTo>
                  <a:lnTo>
                    <a:pt x="2152" y="86"/>
                  </a:lnTo>
                  <a:lnTo>
                    <a:pt x="2176" y="71"/>
                  </a:lnTo>
                  <a:lnTo>
                    <a:pt x="2201" y="57"/>
                  </a:lnTo>
                  <a:lnTo>
                    <a:pt x="2225" y="45"/>
                  </a:lnTo>
                  <a:lnTo>
                    <a:pt x="2251" y="35"/>
                  </a:lnTo>
                  <a:lnTo>
                    <a:pt x="2277" y="24"/>
                  </a:lnTo>
                  <a:lnTo>
                    <a:pt x="2303" y="16"/>
                  </a:lnTo>
                  <a:lnTo>
                    <a:pt x="2330" y="10"/>
                  </a:lnTo>
                  <a:lnTo>
                    <a:pt x="2358" y="4"/>
                  </a:lnTo>
                  <a:lnTo>
                    <a:pt x="2386" y="1"/>
                  </a:lnTo>
                  <a:close/>
                </a:path>
              </a:pathLst>
            </a:custGeom>
            <a:gradFill rotWithShape="1">
              <a:gsLst>
                <a:gs pos="0">
                  <a:srgbClr val="FFD700"/>
                </a:gs>
                <a:gs pos="50000">
                  <a:srgbClr val="FFFFFF"/>
                </a:gs>
                <a:gs pos="100000">
                  <a:srgbClr val="FFD700"/>
                </a:gs>
              </a:gsLst>
              <a:lin ang="2700000" scaled="1"/>
            </a:gradFill>
            <a:ln w="12700">
              <a:solidFill>
                <a:srgbClr val="FFD7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auto">
            <a:xfrm>
              <a:off x="5667541" y="2856795"/>
              <a:ext cx="474696" cy="469317"/>
            </a:xfrm>
            <a:custGeom>
              <a:avLst/>
              <a:gdLst>
                <a:gd name="T0" fmla="*/ 259 w 4503"/>
                <a:gd name="T1" fmla="*/ 4 h 4450"/>
                <a:gd name="T2" fmla="*/ 284 w 4503"/>
                <a:gd name="T3" fmla="*/ 26 h 4450"/>
                <a:gd name="T4" fmla="*/ 303 w 4503"/>
                <a:gd name="T5" fmla="*/ 38 h 4450"/>
                <a:gd name="T6" fmla="*/ 333 w 4503"/>
                <a:gd name="T7" fmla="*/ 40 h 4450"/>
                <a:gd name="T8" fmla="*/ 375 w 4503"/>
                <a:gd name="T9" fmla="*/ 37 h 4450"/>
                <a:gd name="T10" fmla="*/ 399 w 4503"/>
                <a:gd name="T11" fmla="*/ 44 h 4450"/>
                <a:gd name="T12" fmla="*/ 409 w 4503"/>
                <a:gd name="T13" fmla="*/ 60 h 4450"/>
                <a:gd name="T14" fmla="*/ 416 w 4503"/>
                <a:gd name="T15" fmla="*/ 93 h 4450"/>
                <a:gd name="T16" fmla="*/ 426 w 4503"/>
                <a:gd name="T17" fmla="*/ 111 h 4450"/>
                <a:gd name="T18" fmla="*/ 456 w 4503"/>
                <a:gd name="T19" fmla="*/ 131 h 4450"/>
                <a:gd name="T20" fmla="*/ 485 w 4503"/>
                <a:gd name="T21" fmla="*/ 150 h 4450"/>
                <a:gd name="T22" fmla="*/ 496 w 4503"/>
                <a:gd name="T23" fmla="*/ 170 h 4450"/>
                <a:gd name="T24" fmla="*/ 493 w 4503"/>
                <a:gd name="T25" fmla="*/ 188 h 4450"/>
                <a:gd name="T26" fmla="*/ 477 w 4503"/>
                <a:gd name="T27" fmla="*/ 219 h 4450"/>
                <a:gd name="T28" fmla="*/ 477 w 4503"/>
                <a:gd name="T29" fmla="*/ 241 h 4450"/>
                <a:gd name="T30" fmla="*/ 493 w 4503"/>
                <a:gd name="T31" fmla="*/ 279 h 4450"/>
                <a:gd name="T32" fmla="*/ 500 w 4503"/>
                <a:gd name="T33" fmla="*/ 306 h 4450"/>
                <a:gd name="T34" fmla="*/ 495 w 4503"/>
                <a:gd name="T35" fmla="*/ 326 h 4450"/>
                <a:gd name="T36" fmla="*/ 474 w 4503"/>
                <a:gd name="T37" fmla="*/ 339 h 4450"/>
                <a:gd name="T38" fmla="*/ 447 w 4503"/>
                <a:gd name="T39" fmla="*/ 355 h 4450"/>
                <a:gd name="T40" fmla="*/ 435 w 4503"/>
                <a:gd name="T41" fmla="*/ 375 h 4450"/>
                <a:gd name="T42" fmla="*/ 424 w 4503"/>
                <a:gd name="T43" fmla="*/ 417 h 4450"/>
                <a:gd name="T44" fmla="*/ 413 w 4503"/>
                <a:gd name="T45" fmla="*/ 439 h 4450"/>
                <a:gd name="T46" fmla="*/ 395 w 4503"/>
                <a:gd name="T47" fmla="*/ 448 h 4450"/>
                <a:gd name="T48" fmla="*/ 364 w 4503"/>
                <a:gd name="T49" fmla="*/ 446 h 4450"/>
                <a:gd name="T50" fmla="*/ 339 w 4503"/>
                <a:gd name="T51" fmla="*/ 446 h 4450"/>
                <a:gd name="T52" fmla="*/ 316 w 4503"/>
                <a:gd name="T53" fmla="*/ 458 h 4450"/>
                <a:gd name="T54" fmla="*/ 281 w 4503"/>
                <a:gd name="T55" fmla="*/ 486 h 4450"/>
                <a:gd name="T56" fmla="*/ 257 w 4503"/>
                <a:gd name="T57" fmla="*/ 494 h 4450"/>
                <a:gd name="T58" fmla="*/ 239 w 4503"/>
                <a:gd name="T59" fmla="*/ 489 h 4450"/>
                <a:gd name="T60" fmla="*/ 213 w 4503"/>
                <a:gd name="T61" fmla="*/ 466 h 4450"/>
                <a:gd name="T62" fmla="*/ 194 w 4503"/>
                <a:gd name="T63" fmla="*/ 456 h 4450"/>
                <a:gd name="T64" fmla="*/ 161 w 4503"/>
                <a:gd name="T65" fmla="*/ 456 h 4450"/>
                <a:gd name="T66" fmla="*/ 122 w 4503"/>
                <a:gd name="T67" fmla="*/ 457 h 4450"/>
                <a:gd name="T68" fmla="*/ 100 w 4503"/>
                <a:gd name="T69" fmla="*/ 449 h 4450"/>
                <a:gd name="T70" fmla="*/ 91 w 4503"/>
                <a:gd name="T71" fmla="*/ 433 h 4450"/>
                <a:gd name="T72" fmla="*/ 84 w 4503"/>
                <a:gd name="T73" fmla="*/ 399 h 4450"/>
                <a:gd name="T74" fmla="*/ 72 w 4503"/>
                <a:gd name="T75" fmla="*/ 381 h 4450"/>
                <a:gd name="T76" fmla="*/ 39 w 4503"/>
                <a:gd name="T77" fmla="*/ 360 h 4450"/>
                <a:gd name="T78" fmla="*/ 13 w 4503"/>
                <a:gd name="T79" fmla="*/ 342 h 4450"/>
                <a:gd name="T80" fmla="*/ 4 w 4503"/>
                <a:gd name="T81" fmla="*/ 323 h 4450"/>
                <a:gd name="T82" fmla="*/ 10 w 4503"/>
                <a:gd name="T83" fmla="*/ 302 h 4450"/>
                <a:gd name="T84" fmla="*/ 24 w 4503"/>
                <a:gd name="T85" fmla="*/ 273 h 4450"/>
                <a:gd name="T86" fmla="*/ 22 w 4503"/>
                <a:gd name="T87" fmla="*/ 251 h 4450"/>
                <a:gd name="T88" fmla="*/ 5 w 4503"/>
                <a:gd name="T89" fmla="*/ 210 h 4450"/>
                <a:gd name="T90" fmla="*/ 0 w 4503"/>
                <a:gd name="T91" fmla="*/ 186 h 4450"/>
                <a:gd name="T92" fmla="*/ 7 w 4503"/>
                <a:gd name="T93" fmla="*/ 167 h 4450"/>
                <a:gd name="T94" fmla="*/ 31 w 4503"/>
                <a:gd name="T95" fmla="*/ 153 h 4450"/>
                <a:gd name="T96" fmla="*/ 55 w 4503"/>
                <a:gd name="T97" fmla="*/ 138 h 4450"/>
                <a:gd name="T98" fmla="*/ 66 w 4503"/>
                <a:gd name="T99" fmla="*/ 117 h 4450"/>
                <a:gd name="T100" fmla="*/ 77 w 4503"/>
                <a:gd name="T101" fmla="*/ 75 h 4450"/>
                <a:gd name="T102" fmla="*/ 90 w 4503"/>
                <a:gd name="T103" fmla="*/ 54 h 4450"/>
                <a:gd name="T104" fmla="*/ 108 w 4503"/>
                <a:gd name="T105" fmla="*/ 46 h 4450"/>
                <a:gd name="T106" fmla="*/ 141 w 4503"/>
                <a:gd name="T107" fmla="*/ 50 h 4450"/>
                <a:gd name="T108" fmla="*/ 164 w 4503"/>
                <a:gd name="T109" fmla="*/ 48 h 4450"/>
                <a:gd name="T110" fmla="*/ 189 w 4503"/>
                <a:gd name="T111" fmla="*/ 33 h 4450"/>
                <a:gd name="T112" fmla="*/ 222 w 4503"/>
                <a:gd name="T113" fmla="*/ 7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96959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auto">
            <a:xfrm>
              <a:off x="5667541" y="2856795"/>
              <a:ext cx="474696" cy="469317"/>
            </a:xfrm>
            <a:custGeom>
              <a:avLst/>
              <a:gdLst>
                <a:gd name="T0" fmla="*/ 259 w 4503"/>
                <a:gd name="T1" fmla="*/ 4 h 4450"/>
                <a:gd name="T2" fmla="*/ 284 w 4503"/>
                <a:gd name="T3" fmla="*/ 26 h 4450"/>
                <a:gd name="T4" fmla="*/ 303 w 4503"/>
                <a:gd name="T5" fmla="*/ 38 h 4450"/>
                <a:gd name="T6" fmla="*/ 333 w 4503"/>
                <a:gd name="T7" fmla="*/ 40 h 4450"/>
                <a:gd name="T8" fmla="*/ 375 w 4503"/>
                <a:gd name="T9" fmla="*/ 37 h 4450"/>
                <a:gd name="T10" fmla="*/ 399 w 4503"/>
                <a:gd name="T11" fmla="*/ 44 h 4450"/>
                <a:gd name="T12" fmla="*/ 409 w 4503"/>
                <a:gd name="T13" fmla="*/ 60 h 4450"/>
                <a:gd name="T14" fmla="*/ 416 w 4503"/>
                <a:gd name="T15" fmla="*/ 93 h 4450"/>
                <a:gd name="T16" fmla="*/ 426 w 4503"/>
                <a:gd name="T17" fmla="*/ 111 h 4450"/>
                <a:gd name="T18" fmla="*/ 456 w 4503"/>
                <a:gd name="T19" fmla="*/ 131 h 4450"/>
                <a:gd name="T20" fmla="*/ 485 w 4503"/>
                <a:gd name="T21" fmla="*/ 150 h 4450"/>
                <a:gd name="T22" fmla="*/ 496 w 4503"/>
                <a:gd name="T23" fmla="*/ 170 h 4450"/>
                <a:gd name="T24" fmla="*/ 493 w 4503"/>
                <a:gd name="T25" fmla="*/ 188 h 4450"/>
                <a:gd name="T26" fmla="*/ 477 w 4503"/>
                <a:gd name="T27" fmla="*/ 219 h 4450"/>
                <a:gd name="T28" fmla="*/ 477 w 4503"/>
                <a:gd name="T29" fmla="*/ 241 h 4450"/>
                <a:gd name="T30" fmla="*/ 493 w 4503"/>
                <a:gd name="T31" fmla="*/ 279 h 4450"/>
                <a:gd name="T32" fmla="*/ 500 w 4503"/>
                <a:gd name="T33" fmla="*/ 306 h 4450"/>
                <a:gd name="T34" fmla="*/ 495 w 4503"/>
                <a:gd name="T35" fmla="*/ 326 h 4450"/>
                <a:gd name="T36" fmla="*/ 474 w 4503"/>
                <a:gd name="T37" fmla="*/ 339 h 4450"/>
                <a:gd name="T38" fmla="*/ 447 w 4503"/>
                <a:gd name="T39" fmla="*/ 355 h 4450"/>
                <a:gd name="T40" fmla="*/ 435 w 4503"/>
                <a:gd name="T41" fmla="*/ 375 h 4450"/>
                <a:gd name="T42" fmla="*/ 424 w 4503"/>
                <a:gd name="T43" fmla="*/ 417 h 4450"/>
                <a:gd name="T44" fmla="*/ 413 w 4503"/>
                <a:gd name="T45" fmla="*/ 439 h 4450"/>
                <a:gd name="T46" fmla="*/ 395 w 4503"/>
                <a:gd name="T47" fmla="*/ 448 h 4450"/>
                <a:gd name="T48" fmla="*/ 364 w 4503"/>
                <a:gd name="T49" fmla="*/ 446 h 4450"/>
                <a:gd name="T50" fmla="*/ 339 w 4503"/>
                <a:gd name="T51" fmla="*/ 446 h 4450"/>
                <a:gd name="T52" fmla="*/ 316 w 4503"/>
                <a:gd name="T53" fmla="*/ 458 h 4450"/>
                <a:gd name="T54" fmla="*/ 281 w 4503"/>
                <a:gd name="T55" fmla="*/ 486 h 4450"/>
                <a:gd name="T56" fmla="*/ 257 w 4503"/>
                <a:gd name="T57" fmla="*/ 494 h 4450"/>
                <a:gd name="T58" fmla="*/ 239 w 4503"/>
                <a:gd name="T59" fmla="*/ 489 h 4450"/>
                <a:gd name="T60" fmla="*/ 213 w 4503"/>
                <a:gd name="T61" fmla="*/ 466 h 4450"/>
                <a:gd name="T62" fmla="*/ 194 w 4503"/>
                <a:gd name="T63" fmla="*/ 456 h 4450"/>
                <a:gd name="T64" fmla="*/ 161 w 4503"/>
                <a:gd name="T65" fmla="*/ 456 h 4450"/>
                <a:gd name="T66" fmla="*/ 122 w 4503"/>
                <a:gd name="T67" fmla="*/ 457 h 4450"/>
                <a:gd name="T68" fmla="*/ 100 w 4503"/>
                <a:gd name="T69" fmla="*/ 449 h 4450"/>
                <a:gd name="T70" fmla="*/ 91 w 4503"/>
                <a:gd name="T71" fmla="*/ 433 h 4450"/>
                <a:gd name="T72" fmla="*/ 84 w 4503"/>
                <a:gd name="T73" fmla="*/ 399 h 4450"/>
                <a:gd name="T74" fmla="*/ 72 w 4503"/>
                <a:gd name="T75" fmla="*/ 381 h 4450"/>
                <a:gd name="T76" fmla="*/ 39 w 4503"/>
                <a:gd name="T77" fmla="*/ 360 h 4450"/>
                <a:gd name="T78" fmla="*/ 13 w 4503"/>
                <a:gd name="T79" fmla="*/ 342 h 4450"/>
                <a:gd name="T80" fmla="*/ 4 w 4503"/>
                <a:gd name="T81" fmla="*/ 323 h 4450"/>
                <a:gd name="T82" fmla="*/ 10 w 4503"/>
                <a:gd name="T83" fmla="*/ 302 h 4450"/>
                <a:gd name="T84" fmla="*/ 24 w 4503"/>
                <a:gd name="T85" fmla="*/ 273 h 4450"/>
                <a:gd name="T86" fmla="*/ 22 w 4503"/>
                <a:gd name="T87" fmla="*/ 251 h 4450"/>
                <a:gd name="T88" fmla="*/ 5 w 4503"/>
                <a:gd name="T89" fmla="*/ 210 h 4450"/>
                <a:gd name="T90" fmla="*/ 0 w 4503"/>
                <a:gd name="T91" fmla="*/ 186 h 4450"/>
                <a:gd name="T92" fmla="*/ 7 w 4503"/>
                <a:gd name="T93" fmla="*/ 167 h 4450"/>
                <a:gd name="T94" fmla="*/ 31 w 4503"/>
                <a:gd name="T95" fmla="*/ 153 h 4450"/>
                <a:gd name="T96" fmla="*/ 55 w 4503"/>
                <a:gd name="T97" fmla="*/ 138 h 4450"/>
                <a:gd name="T98" fmla="*/ 66 w 4503"/>
                <a:gd name="T99" fmla="*/ 117 h 4450"/>
                <a:gd name="T100" fmla="*/ 77 w 4503"/>
                <a:gd name="T101" fmla="*/ 75 h 4450"/>
                <a:gd name="T102" fmla="*/ 90 w 4503"/>
                <a:gd name="T103" fmla="*/ 54 h 4450"/>
                <a:gd name="T104" fmla="*/ 108 w 4503"/>
                <a:gd name="T105" fmla="*/ 46 h 4450"/>
                <a:gd name="T106" fmla="*/ 141 w 4503"/>
                <a:gd name="T107" fmla="*/ 50 h 4450"/>
                <a:gd name="T108" fmla="*/ 164 w 4503"/>
                <a:gd name="T109" fmla="*/ 48 h 4450"/>
                <a:gd name="T110" fmla="*/ 189 w 4503"/>
                <a:gd name="T111" fmla="*/ 33 h 4450"/>
                <a:gd name="T112" fmla="*/ 222 w 4503"/>
                <a:gd name="T113" fmla="*/ 7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FFCC66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auto">
            <a:xfrm>
              <a:off x="5678610" y="2867871"/>
              <a:ext cx="452875" cy="447164"/>
            </a:xfrm>
            <a:custGeom>
              <a:avLst/>
              <a:gdLst>
                <a:gd name="T0" fmla="*/ 215 w 4294"/>
                <a:gd name="T1" fmla="*/ 6 h 4240"/>
                <a:gd name="T2" fmla="*/ 188 w 4294"/>
                <a:gd name="T3" fmla="*/ 28 h 4240"/>
                <a:gd name="T4" fmla="*/ 161 w 4294"/>
                <a:gd name="T5" fmla="*/ 46 h 4240"/>
                <a:gd name="T6" fmla="*/ 140 w 4294"/>
                <a:gd name="T7" fmla="*/ 50 h 4240"/>
                <a:gd name="T8" fmla="*/ 103 w 4294"/>
                <a:gd name="T9" fmla="*/ 46 h 4240"/>
                <a:gd name="T10" fmla="*/ 88 w 4294"/>
                <a:gd name="T11" fmla="*/ 48 h 4240"/>
                <a:gd name="T12" fmla="*/ 77 w 4294"/>
                <a:gd name="T13" fmla="*/ 64 h 4240"/>
                <a:gd name="T14" fmla="*/ 69 w 4294"/>
                <a:gd name="T15" fmla="*/ 95 h 4240"/>
                <a:gd name="T16" fmla="*/ 58 w 4294"/>
                <a:gd name="T17" fmla="*/ 125 h 4240"/>
                <a:gd name="T18" fmla="*/ 44 w 4294"/>
                <a:gd name="T19" fmla="*/ 141 h 4240"/>
                <a:gd name="T20" fmla="*/ 11 w 4294"/>
                <a:gd name="T21" fmla="*/ 158 h 4240"/>
                <a:gd name="T22" fmla="*/ 1 w 4294"/>
                <a:gd name="T23" fmla="*/ 168 h 4240"/>
                <a:gd name="T24" fmla="*/ 1 w 4294"/>
                <a:gd name="T25" fmla="*/ 185 h 4240"/>
                <a:gd name="T26" fmla="*/ 14 w 4294"/>
                <a:gd name="T27" fmla="*/ 216 h 4240"/>
                <a:gd name="T28" fmla="*/ 24 w 4294"/>
                <a:gd name="T29" fmla="*/ 247 h 4240"/>
                <a:gd name="T30" fmla="*/ 22 w 4294"/>
                <a:gd name="T31" fmla="*/ 268 h 4240"/>
                <a:gd name="T32" fmla="*/ 7 w 4294"/>
                <a:gd name="T33" fmla="*/ 300 h 4240"/>
                <a:gd name="T34" fmla="*/ 4 w 4294"/>
                <a:gd name="T35" fmla="*/ 314 h 4240"/>
                <a:gd name="T36" fmla="*/ 14 w 4294"/>
                <a:gd name="T37" fmla="*/ 327 h 4240"/>
                <a:gd name="T38" fmla="*/ 45 w 4294"/>
                <a:gd name="T39" fmla="*/ 345 h 4240"/>
                <a:gd name="T40" fmla="*/ 72 w 4294"/>
                <a:gd name="T41" fmla="*/ 364 h 4240"/>
                <a:gd name="T42" fmla="*/ 83 w 4294"/>
                <a:gd name="T43" fmla="*/ 382 h 4240"/>
                <a:gd name="T44" fmla="*/ 90 w 4294"/>
                <a:gd name="T45" fmla="*/ 417 h 4240"/>
                <a:gd name="T46" fmla="*/ 97 w 4294"/>
                <a:gd name="T47" fmla="*/ 429 h 4240"/>
                <a:gd name="T48" fmla="*/ 114 w 4294"/>
                <a:gd name="T49" fmla="*/ 434 h 4240"/>
                <a:gd name="T50" fmla="*/ 150 w 4294"/>
                <a:gd name="T51" fmla="*/ 432 h 4240"/>
                <a:gd name="T52" fmla="*/ 183 w 4294"/>
                <a:gd name="T53" fmla="*/ 432 h 4240"/>
                <a:gd name="T54" fmla="*/ 203 w 4294"/>
                <a:gd name="T55" fmla="*/ 440 h 4240"/>
                <a:gd name="T56" fmla="*/ 231 w 4294"/>
                <a:gd name="T57" fmla="*/ 465 h 4240"/>
                <a:gd name="T58" fmla="*/ 244 w 4294"/>
                <a:gd name="T59" fmla="*/ 471 h 4240"/>
                <a:gd name="T60" fmla="*/ 262 w 4294"/>
                <a:gd name="T61" fmla="*/ 465 h 4240"/>
                <a:gd name="T62" fmla="*/ 289 w 4294"/>
                <a:gd name="T63" fmla="*/ 443 h 4240"/>
                <a:gd name="T64" fmla="*/ 316 w 4294"/>
                <a:gd name="T65" fmla="*/ 425 h 4240"/>
                <a:gd name="T66" fmla="*/ 337 w 4294"/>
                <a:gd name="T67" fmla="*/ 421 h 4240"/>
                <a:gd name="T68" fmla="*/ 375 w 4294"/>
                <a:gd name="T69" fmla="*/ 425 h 4240"/>
                <a:gd name="T70" fmla="*/ 389 w 4294"/>
                <a:gd name="T71" fmla="*/ 422 h 4240"/>
                <a:gd name="T72" fmla="*/ 400 w 4294"/>
                <a:gd name="T73" fmla="*/ 407 h 4240"/>
                <a:gd name="T74" fmla="*/ 409 w 4294"/>
                <a:gd name="T75" fmla="*/ 376 h 4240"/>
                <a:gd name="T76" fmla="*/ 419 w 4294"/>
                <a:gd name="T77" fmla="*/ 346 h 4240"/>
                <a:gd name="T78" fmla="*/ 434 w 4294"/>
                <a:gd name="T79" fmla="*/ 330 h 4240"/>
                <a:gd name="T80" fmla="*/ 466 w 4294"/>
                <a:gd name="T81" fmla="*/ 313 h 4240"/>
                <a:gd name="T82" fmla="*/ 477 w 4294"/>
                <a:gd name="T83" fmla="*/ 303 h 4240"/>
                <a:gd name="T84" fmla="*/ 476 w 4294"/>
                <a:gd name="T85" fmla="*/ 286 h 4240"/>
                <a:gd name="T86" fmla="*/ 463 w 4294"/>
                <a:gd name="T87" fmla="*/ 255 h 4240"/>
                <a:gd name="T88" fmla="*/ 453 w 4294"/>
                <a:gd name="T89" fmla="*/ 224 h 4240"/>
                <a:gd name="T90" fmla="*/ 455 w 4294"/>
                <a:gd name="T91" fmla="*/ 203 h 4240"/>
                <a:gd name="T92" fmla="*/ 471 w 4294"/>
                <a:gd name="T93" fmla="*/ 171 h 4240"/>
                <a:gd name="T94" fmla="*/ 473 w 4294"/>
                <a:gd name="T95" fmla="*/ 157 h 4240"/>
                <a:gd name="T96" fmla="*/ 463 w 4294"/>
                <a:gd name="T97" fmla="*/ 144 h 4240"/>
                <a:gd name="T98" fmla="*/ 433 w 4294"/>
                <a:gd name="T99" fmla="*/ 126 h 4240"/>
                <a:gd name="T100" fmla="*/ 406 w 4294"/>
                <a:gd name="T101" fmla="*/ 107 h 4240"/>
                <a:gd name="T102" fmla="*/ 395 w 4294"/>
                <a:gd name="T103" fmla="*/ 89 h 4240"/>
                <a:gd name="T104" fmla="*/ 388 w 4294"/>
                <a:gd name="T105" fmla="*/ 54 h 4240"/>
                <a:gd name="T106" fmla="*/ 381 w 4294"/>
                <a:gd name="T107" fmla="*/ 42 h 4240"/>
                <a:gd name="T108" fmla="*/ 364 w 4294"/>
                <a:gd name="T109" fmla="*/ 37 h 4240"/>
                <a:gd name="T110" fmla="*/ 327 w 4294"/>
                <a:gd name="T111" fmla="*/ 39 h 4240"/>
                <a:gd name="T112" fmla="*/ 294 w 4294"/>
                <a:gd name="T113" fmla="*/ 38 h 4240"/>
                <a:gd name="T114" fmla="*/ 274 w 4294"/>
                <a:gd name="T115" fmla="*/ 30 h 4240"/>
                <a:gd name="T116" fmla="*/ 247 w 4294"/>
                <a:gd name="T117" fmla="*/ 6 h 4240"/>
                <a:gd name="T118" fmla="*/ 233 w 4294"/>
                <a:gd name="T119" fmla="*/ 0 h 42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94" h="4240">
                  <a:moveTo>
                    <a:pt x="2089" y="0"/>
                  </a:moveTo>
                  <a:lnTo>
                    <a:pt x="2068" y="2"/>
                  </a:lnTo>
                  <a:lnTo>
                    <a:pt x="2048" y="6"/>
                  </a:lnTo>
                  <a:lnTo>
                    <a:pt x="2027" y="12"/>
                  </a:lnTo>
                  <a:lnTo>
                    <a:pt x="2007" y="18"/>
                  </a:lnTo>
                  <a:lnTo>
                    <a:pt x="1989" y="26"/>
                  </a:lnTo>
                  <a:lnTo>
                    <a:pt x="1969" y="35"/>
                  </a:lnTo>
                  <a:lnTo>
                    <a:pt x="1951" y="45"/>
                  </a:lnTo>
                  <a:lnTo>
                    <a:pt x="1933" y="56"/>
                  </a:lnTo>
                  <a:lnTo>
                    <a:pt x="1914" y="68"/>
                  </a:lnTo>
                  <a:lnTo>
                    <a:pt x="1896" y="79"/>
                  </a:lnTo>
                  <a:lnTo>
                    <a:pt x="1878" y="92"/>
                  </a:lnTo>
                  <a:lnTo>
                    <a:pt x="1861" y="105"/>
                  </a:lnTo>
                  <a:lnTo>
                    <a:pt x="1826" y="133"/>
                  </a:lnTo>
                  <a:lnTo>
                    <a:pt x="1793" y="161"/>
                  </a:lnTo>
                  <a:lnTo>
                    <a:pt x="1761" y="190"/>
                  </a:lnTo>
                  <a:lnTo>
                    <a:pt x="1729" y="217"/>
                  </a:lnTo>
                  <a:lnTo>
                    <a:pt x="1692" y="248"/>
                  </a:lnTo>
                  <a:lnTo>
                    <a:pt x="1654" y="279"/>
                  </a:lnTo>
                  <a:lnTo>
                    <a:pt x="1616" y="311"/>
                  </a:lnTo>
                  <a:lnTo>
                    <a:pt x="1577" y="339"/>
                  </a:lnTo>
                  <a:lnTo>
                    <a:pt x="1556" y="353"/>
                  </a:lnTo>
                  <a:lnTo>
                    <a:pt x="1536" y="365"/>
                  </a:lnTo>
                  <a:lnTo>
                    <a:pt x="1515" y="377"/>
                  </a:lnTo>
                  <a:lnTo>
                    <a:pt x="1494" y="389"/>
                  </a:lnTo>
                  <a:lnTo>
                    <a:pt x="1471" y="400"/>
                  </a:lnTo>
                  <a:lnTo>
                    <a:pt x="1450" y="411"/>
                  </a:lnTo>
                  <a:lnTo>
                    <a:pt x="1427" y="420"/>
                  </a:lnTo>
                  <a:lnTo>
                    <a:pt x="1404" y="429"/>
                  </a:lnTo>
                  <a:lnTo>
                    <a:pt x="1384" y="434"/>
                  </a:lnTo>
                  <a:lnTo>
                    <a:pt x="1364" y="440"/>
                  </a:lnTo>
                  <a:lnTo>
                    <a:pt x="1343" y="444"/>
                  </a:lnTo>
                  <a:lnTo>
                    <a:pt x="1323" y="447"/>
                  </a:lnTo>
                  <a:lnTo>
                    <a:pt x="1302" y="449"/>
                  </a:lnTo>
                  <a:lnTo>
                    <a:pt x="1282" y="450"/>
                  </a:lnTo>
                  <a:lnTo>
                    <a:pt x="1262" y="452"/>
                  </a:lnTo>
                  <a:lnTo>
                    <a:pt x="1241" y="452"/>
                  </a:lnTo>
                  <a:lnTo>
                    <a:pt x="1199" y="449"/>
                  </a:lnTo>
                  <a:lnTo>
                    <a:pt x="1158" y="445"/>
                  </a:lnTo>
                  <a:lnTo>
                    <a:pt x="1117" y="440"/>
                  </a:lnTo>
                  <a:lnTo>
                    <a:pt x="1076" y="433"/>
                  </a:lnTo>
                  <a:lnTo>
                    <a:pt x="1045" y="429"/>
                  </a:lnTo>
                  <a:lnTo>
                    <a:pt x="1009" y="422"/>
                  </a:lnTo>
                  <a:lnTo>
                    <a:pt x="969" y="417"/>
                  </a:lnTo>
                  <a:lnTo>
                    <a:pt x="928" y="413"/>
                  </a:lnTo>
                  <a:lnTo>
                    <a:pt x="908" y="412"/>
                  </a:lnTo>
                  <a:lnTo>
                    <a:pt x="887" y="412"/>
                  </a:lnTo>
                  <a:lnTo>
                    <a:pt x="868" y="413"/>
                  </a:lnTo>
                  <a:lnTo>
                    <a:pt x="850" y="416"/>
                  </a:lnTo>
                  <a:lnTo>
                    <a:pt x="832" y="419"/>
                  </a:lnTo>
                  <a:lnTo>
                    <a:pt x="815" y="425"/>
                  </a:lnTo>
                  <a:lnTo>
                    <a:pt x="808" y="428"/>
                  </a:lnTo>
                  <a:lnTo>
                    <a:pt x="800" y="432"/>
                  </a:lnTo>
                  <a:lnTo>
                    <a:pt x="794" y="436"/>
                  </a:lnTo>
                  <a:lnTo>
                    <a:pt x="787" y="441"/>
                  </a:lnTo>
                  <a:lnTo>
                    <a:pt x="771" y="455"/>
                  </a:lnTo>
                  <a:lnTo>
                    <a:pt x="757" y="471"/>
                  </a:lnTo>
                  <a:lnTo>
                    <a:pt x="743" y="487"/>
                  </a:lnTo>
                  <a:lnTo>
                    <a:pt x="731" y="504"/>
                  </a:lnTo>
                  <a:lnTo>
                    <a:pt x="722" y="520"/>
                  </a:lnTo>
                  <a:lnTo>
                    <a:pt x="712" y="538"/>
                  </a:lnTo>
                  <a:lnTo>
                    <a:pt x="703" y="556"/>
                  </a:lnTo>
                  <a:lnTo>
                    <a:pt x="696" y="574"/>
                  </a:lnTo>
                  <a:lnTo>
                    <a:pt x="688" y="593"/>
                  </a:lnTo>
                  <a:lnTo>
                    <a:pt x="682" y="613"/>
                  </a:lnTo>
                  <a:lnTo>
                    <a:pt x="675" y="632"/>
                  </a:lnTo>
                  <a:lnTo>
                    <a:pt x="669" y="653"/>
                  </a:lnTo>
                  <a:lnTo>
                    <a:pt x="659" y="693"/>
                  </a:lnTo>
                  <a:lnTo>
                    <a:pt x="649" y="733"/>
                  </a:lnTo>
                  <a:lnTo>
                    <a:pt x="641" y="773"/>
                  </a:lnTo>
                  <a:lnTo>
                    <a:pt x="632" y="811"/>
                  </a:lnTo>
                  <a:lnTo>
                    <a:pt x="623" y="858"/>
                  </a:lnTo>
                  <a:lnTo>
                    <a:pt x="611" y="905"/>
                  </a:lnTo>
                  <a:lnTo>
                    <a:pt x="598" y="952"/>
                  </a:lnTo>
                  <a:lnTo>
                    <a:pt x="584" y="998"/>
                  </a:lnTo>
                  <a:lnTo>
                    <a:pt x="575" y="1020"/>
                  </a:lnTo>
                  <a:lnTo>
                    <a:pt x="567" y="1043"/>
                  </a:lnTo>
                  <a:lnTo>
                    <a:pt x="557" y="1064"/>
                  </a:lnTo>
                  <a:lnTo>
                    <a:pt x="547" y="1086"/>
                  </a:lnTo>
                  <a:lnTo>
                    <a:pt x="536" y="1107"/>
                  </a:lnTo>
                  <a:lnTo>
                    <a:pt x="525" y="1129"/>
                  </a:lnTo>
                  <a:lnTo>
                    <a:pt x="512" y="1149"/>
                  </a:lnTo>
                  <a:lnTo>
                    <a:pt x="498" y="1170"/>
                  </a:lnTo>
                  <a:lnTo>
                    <a:pt x="485" y="1186"/>
                  </a:lnTo>
                  <a:lnTo>
                    <a:pt x="471" y="1202"/>
                  </a:lnTo>
                  <a:lnTo>
                    <a:pt x="457" y="1217"/>
                  </a:lnTo>
                  <a:lnTo>
                    <a:pt x="442" y="1231"/>
                  </a:lnTo>
                  <a:lnTo>
                    <a:pt x="427" y="1245"/>
                  </a:lnTo>
                  <a:lnTo>
                    <a:pt x="411" y="1257"/>
                  </a:lnTo>
                  <a:lnTo>
                    <a:pt x="395" y="1270"/>
                  </a:lnTo>
                  <a:lnTo>
                    <a:pt x="377" y="1282"/>
                  </a:lnTo>
                  <a:lnTo>
                    <a:pt x="342" y="1303"/>
                  </a:lnTo>
                  <a:lnTo>
                    <a:pt x="305" y="1324"/>
                  </a:lnTo>
                  <a:lnTo>
                    <a:pt x="269" y="1342"/>
                  </a:lnTo>
                  <a:lnTo>
                    <a:pt x="232" y="1360"/>
                  </a:lnTo>
                  <a:lnTo>
                    <a:pt x="204" y="1372"/>
                  </a:lnTo>
                  <a:lnTo>
                    <a:pt x="173" y="1387"/>
                  </a:lnTo>
                  <a:lnTo>
                    <a:pt x="137" y="1404"/>
                  </a:lnTo>
                  <a:lnTo>
                    <a:pt x="103" y="1424"/>
                  </a:lnTo>
                  <a:lnTo>
                    <a:pt x="86" y="1434"/>
                  </a:lnTo>
                  <a:lnTo>
                    <a:pt x="70" y="1445"/>
                  </a:lnTo>
                  <a:lnTo>
                    <a:pt x="55" y="1457"/>
                  </a:lnTo>
                  <a:lnTo>
                    <a:pt x="42" y="1469"/>
                  </a:lnTo>
                  <a:lnTo>
                    <a:pt x="30" y="1482"/>
                  </a:lnTo>
                  <a:lnTo>
                    <a:pt x="20" y="1495"/>
                  </a:lnTo>
                  <a:lnTo>
                    <a:pt x="16" y="1501"/>
                  </a:lnTo>
                  <a:lnTo>
                    <a:pt x="13" y="1508"/>
                  </a:lnTo>
                  <a:lnTo>
                    <a:pt x="9" y="1515"/>
                  </a:lnTo>
                  <a:lnTo>
                    <a:pt x="7" y="1522"/>
                  </a:lnTo>
                  <a:lnTo>
                    <a:pt x="4" y="1539"/>
                  </a:lnTo>
                  <a:lnTo>
                    <a:pt x="2" y="1555"/>
                  </a:lnTo>
                  <a:lnTo>
                    <a:pt x="0" y="1572"/>
                  </a:lnTo>
                  <a:lnTo>
                    <a:pt x="0" y="1589"/>
                  </a:lnTo>
                  <a:lnTo>
                    <a:pt x="2" y="1609"/>
                  </a:lnTo>
                  <a:lnTo>
                    <a:pt x="4" y="1628"/>
                  </a:lnTo>
                  <a:lnTo>
                    <a:pt x="7" y="1648"/>
                  </a:lnTo>
                  <a:lnTo>
                    <a:pt x="13" y="1668"/>
                  </a:lnTo>
                  <a:lnTo>
                    <a:pt x="18" y="1688"/>
                  </a:lnTo>
                  <a:lnTo>
                    <a:pt x="24" y="1709"/>
                  </a:lnTo>
                  <a:lnTo>
                    <a:pt x="32" y="1729"/>
                  </a:lnTo>
                  <a:lnTo>
                    <a:pt x="40" y="1749"/>
                  </a:lnTo>
                  <a:lnTo>
                    <a:pt x="57" y="1789"/>
                  </a:lnTo>
                  <a:lnTo>
                    <a:pt x="74" y="1829"/>
                  </a:lnTo>
                  <a:lnTo>
                    <a:pt x="92" y="1867"/>
                  </a:lnTo>
                  <a:lnTo>
                    <a:pt x="109" y="1902"/>
                  </a:lnTo>
                  <a:lnTo>
                    <a:pt x="130" y="1945"/>
                  </a:lnTo>
                  <a:lnTo>
                    <a:pt x="149" y="1990"/>
                  </a:lnTo>
                  <a:lnTo>
                    <a:pt x="169" y="2036"/>
                  </a:lnTo>
                  <a:lnTo>
                    <a:pt x="185" y="2081"/>
                  </a:lnTo>
                  <a:lnTo>
                    <a:pt x="192" y="2104"/>
                  </a:lnTo>
                  <a:lnTo>
                    <a:pt x="200" y="2127"/>
                  </a:lnTo>
                  <a:lnTo>
                    <a:pt x="205" y="2151"/>
                  </a:lnTo>
                  <a:lnTo>
                    <a:pt x="211" y="2174"/>
                  </a:lnTo>
                  <a:lnTo>
                    <a:pt x="215" y="2198"/>
                  </a:lnTo>
                  <a:lnTo>
                    <a:pt x="218" y="2222"/>
                  </a:lnTo>
                  <a:lnTo>
                    <a:pt x="221" y="2246"/>
                  </a:lnTo>
                  <a:lnTo>
                    <a:pt x="222" y="2271"/>
                  </a:lnTo>
                  <a:lnTo>
                    <a:pt x="222" y="2291"/>
                  </a:lnTo>
                  <a:lnTo>
                    <a:pt x="221" y="2312"/>
                  </a:lnTo>
                  <a:lnTo>
                    <a:pt x="219" y="2332"/>
                  </a:lnTo>
                  <a:lnTo>
                    <a:pt x="216" y="2353"/>
                  </a:lnTo>
                  <a:lnTo>
                    <a:pt x="212" y="2372"/>
                  </a:lnTo>
                  <a:lnTo>
                    <a:pt x="206" y="2391"/>
                  </a:lnTo>
                  <a:lnTo>
                    <a:pt x="200" y="2411"/>
                  </a:lnTo>
                  <a:lnTo>
                    <a:pt x="193" y="2430"/>
                  </a:lnTo>
                  <a:lnTo>
                    <a:pt x="178" y="2468"/>
                  </a:lnTo>
                  <a:lnTo>
                    <a:pt x="161" y="2505"/>
                  </a:lnTo>
                  <a:lnTo>
                    <a:pt x="143" y="2542"/>
                  </a:lnTo>
                  <a:lnTo>
                    <a:pt x="123" y="2578"/>
                  </a:lnTo>
                  <a:lnTo>
                    <a:pt x="109" y="2602"/>
                  </a:lnTo>
                  <a:lnTo>
                    <a:pt x="92" y="2632"/>
                  </a:lnTo>
                  <a:lnTo>
                    <a:pt x="75" y="2665"/>
                  </a:lnTo>
                  <a:lnTo>
                    <a:pt x="59" y="2699"/>
                  </a:lnTo>
                  <a:lnTo>
                    <a:pt x="52" y="2717"/>
                  </a:lnTo>
                  <a:lnTo>
                    <a:pt x="46" y="2735"/>
                  </a:lnTo>
                  <a:lnTo>
                    <a:pt x="41" y="2752"/>
                  </a:lnTo>
                  <a:lnTo>
                    <a:pt x="37" y="2769"/>
                  </a:lnTo>
                  <a:lnTo>
                    <a:pt x="35" y="2785"/>
                  </a:lnTo>
                  <a:lnTo>
                    <a:pt x="36" y="2800"/>
                  </a:lnTo>
                  <a:lnTo>
                    <a:pt x="36" y="2808"/>
                  </a:lnTo>
                  <a:lnTo>
                    <a:pt x="38" y="2815"/>
                  </a:lnTo>
                  <a:lnTo>
                    <a:pt x="40" y="2823"/>
                  </a:lnTo>
                  <a:lnTo>
                    <a:pt x="43" y="2829"/>
                  </a:lnTo>
                  <a:lnTo>
                    <a:pt x="48" y="2842"/>
                  </a:lnTo>
                  <a:lnTo>
                    <a:pt x="56" y="2854"/>
                  </a:lnTo>
                  <a:lnTo>
                    <a:pt x="62" y="2867"/>
                  </a:lnTo>
                  <a:lnTo>
                    <a:pt x="71" y="2878"/>
                  </a:lnTo>
                  <a:lnTo>
                    <a:pt x="84" y="2894"/>
                  </a:lnTo>
                  <a:lnTo>
                    <a:pt x="98" y="2910"/>
                  </a:lnTo>
                  <a:lnTo>
                    <a:pt x="114" y="2925"/>
                  </a:lnTo>
                  <a:lnTo>
                    <a:pt x="130" y="2940"/>
                  </a:lnTo>
                  <a:lnTo>
                    <a:pt x="148" y="2954"/>
                  </a:lnTo>
                  <a:lnTo>
                    <a:pt x="166" y="2968"/>
                  </a:lnTo>
                  <a:lnTo>
                    <a:pt x="186" y="2981"/>
                  </a:lnTo>
                  <a:lnTo>
                    <a:pt x="205" y="2994"/>
                  </a:lnTo>
                  <a:lnTo>
                    <a:pt x="245" y="3017"/>
                  </a:lnTo>
                  <a:lnTo>
                    <a:pt x="286" y="3041"/>
                  </a:lnTo>
                  <a:lnTo>
                    <a:pt x="325" y="3061"/>
                  </a:lnTo>
                  <a:lnTo>
                    <a:pt x="362" y="3082"/>
                  </a:lnTo>
                  <a:lnTo>
                    <a:pt x="405" y="3106"/>
                  </a:lnTo>
                  <a:lnTo>
                    <a:pt x="448" y="3130"/>
                  </a:lnTo>
                  <a:lnTo>
                    <a:pt x="491" y="3155"/>
                  </a:lnTo>
                  <a:lnTo>
                    <a:pt x="532" y="3183"/>
                  </a:lnTo>
                  <a:lnTo>
                    <a:pt x="553" y="3197"/>
                  </a:lnTo>
                  <a:lnTo>
                    <a:pt x="572" y="3212"/>
                  </a:lnTo>
                  <a:lnTo>
                    <a:pt x="591" y="3227"/>
                  </a:lnTo>
                  <a:lnTo>
                    <a:pt x="611" y="3243"/>
                  </a:lnTo>
                  <a:lnTo>
                    <a:pt x="629" y="3260"/>
                  </a:lnTo>
                  <a:lnTo>
                    <a:pt x="646" y="3278"/>
                  </a:lnTo>
                  <a:lnTo>
                    <a:pt x="663" y="3296"/>
                  </a:lnTo>
                  <a:lnTo>
                    <a:pt x="680" y="3314"/>
                  </a:lnTo>
                  <a:lnTo>
                    <a:pt x="691" y="3331"/>
                  </a:lnTo>
                  <a:lnTo>
                    <a:pt x="703" y="3348"/>
                  </a:lnTo>
                  <a:lnTo>
                    <a:pt x="714" y="3366"/>
                  </a:lnTo>
                  <a:lnTo>
                    <a:pt x="724" y="3383"/>
                  </a:lnTo>
                  <a:lnTo>
                    <a:pt x="732" y="3401"/>
                  </a:lnTo>
                  <a:lnTo>
                    <a:pt x="740" y="3420"/>
                  </a:lnTo>
                  <a:lnTo>
                    <a:pt x="747" y="3438"/>
                  </a:lnTo>
                  <a:lnTo>
                    <a:pt x="754" y="3457"/>
                  </a:lnTo>
                  <a:lnTo>
                    <a:pt x="765" y="3496"/>
                  </a:lnTo>
                  <a:lnTo>
                    <a:pt x="773" y="3536"/>
                  </a:lnTo>
                  <a:lnTo>
                    <a:pt x="781" y="3575"/>
                  </a:lnTo>
                  <a:lnTo>
                    <a:pt x="787" y="3615"/>
                  </a:lnTo>
                  <a:lnTo>
                    <a:pt x="791" y="3645"/>
                  </a:lnTo>
                  <a:lnTo>
                    <a:pt x="797" y="3680"/>
                  </a:lnTo>
                  <a:lnTo>
                    <a:pt x="803" y="3716"/>
                  </a:lnTo>
                  <a:lnTo>
                    <a:pt x="812" y="3753"/>
                  </a:lnTo>
                  <a:lnTo>
                    <a:pt x="816" y="3771"/>
                  </a:lnTo>
                  <a:lnTo>
                    <a:pt x="823" y="3788"/>
                  </a:lnTo>
                  <a:lnTo>
                    <a:pt x="829" y="3806"/>
                  </a:lnTo>
                  <a:lnTo>
                    <a:pt x="838" y="3822"/>
                  </a:lnTo>
                  <a:lnTo>
                    <a:pt x="846" y="3836"/>
                  </a:lnTo>
                  <a:lnTo>
                    <a:pt x="856" y="3849"/>
                  </a:lnTo>
                  <a:lnTo>
                    <a:pt x="861" y="3854"/>
                  </a:lnTo>
                  <a:lnTo>
                    <a:pt x="868" y="3859"/>
                  </a:lnTo>
                  <a:lnTo>
                    <a:pt x="874" y="3864"/>
                  </a:lnTo>
                  <a:lnTo>
                    <a:pt x="881" y="3868"/>
                  </a:lnTo>
                  <a:lnTo>
                    <a:pt x="895" y="3876"/>
                  </a:lnTo>
                  <a:lnTo>
                    <a:pt x="909" y="3883"/>
                  </a:lnTo>
                  <a:lnTo>
                    <a:pt x="924" y="3888"/>
                  </a:lnTo>
                  <a:lnTo>
                    <a:pt x="940" y="3894"/>
                  </a:lnTo>
                  <a:lnTo>
                    <a:pt x="960" y="3899"/>
                  </a:lnTo>
                  <a:lnTo>
                    <a:pt x="982" y="3903"/>
                  </a:lnTo>
                  <a:lnTo>
                    <a:pt x="1003" y="3907"/>
                  </a:lnTo>
                  <a:lnTo>
                    <a:pt x="1026" y="3910"/>
                  </a:lnTo>
                  <a:lnTo>
                    <a:pt x="1050" y="3911"/>
                  </a:lnTo>
                  <a:lnTo>
                    <a:pt x="1072" y="3912"/>
                  </a:lnTo>
                  <a:lnTo>
                    <a:pt x="1096" y="3912"/>
                  </a:lnTo>
                  <a:lnTo>
                    <a:pt x="1120" y="3911"/>
                  </a:lnTo>
                  <a:lnTo>
                    <a:pt x="1167" y="3908"/>
                  </a:lnTo>
                  <a:lnTo>
                    <a:pt x="1214" y="3903"/>
                  </a:lnTo>
                  <a:lnTo>
                    <a:pt x="1259" y="3899"/>
                  </a:lnTo>
                  <a:lnTo>
                    <a:pt x="1302" y="3894"/>
                  </a:lnTo>
                  <a:lnTo>
                    <a:pt x="1352" y="3888"/>
                  </a:lnTo>
                  <a:lnTo>
                    <a:pt x="1401" y="3884"/>
                  </a:lnTo>
                  <a:lnTo>
                    <a:pt x="1451" y="3882"/>
                  </a:lnTo>
                  <a:lnTo>
                    <a:pt x="1501" y="3881"/>
                  </a:lnTo>
                  <a:lnTo>
                    <a:pt x="1526" y="3881"/>
                  </a:lnTo>
                  <a:lnTo>
                    <a:pt x="1551" y="3882"/>
                  </a:lnTo>
                  <a:lnTo>
                    <a:pt x="1576" y="3883"/>
                  </a:lnTo>
                  <a:lnTo>
                    <a:pt x="1600" y="3886"/>
                  </a:lnTo>
                  <a:lnTo>
                    <a:pt x="1625" y="3889"/>
                  </a:lnTo>
                  <a:lnTo>
                    <a:pt x="1649" y="3893"/>
                  </a:lnTo>
                  <a:lnTo>
                    <a:pt x="1673" y="3898"/>
                  </a:lnTo>
                  <a:lnTo>
                    <a:pt x="1698" y="3905"/>
                  </a:lnTo>
                  <a:lnTo>
                    <a:pt x="1718" y="3911"/>
                  </a:lnTo>
                  <a:lnTo>
                    <a:pt x="1737" y="3917"/>
                  </a:lnTo>
                  <a:lnTo>
                    <a:pt x="1756" y="3926"/>
                  </a:lnTo>
                  <a:lnTo>
                    <a:pt x="1775" y="3935"/>
                  </a:lnTo>
                  <a:lnTo>
                    <a:pt x="1792" y="3944"/>
                  </a:lnTo>
                  <a:lnTo>
                    <a:pt x="1809" y="3954"/>
                  </a:lnTo>
                  <a:lnTo>
                    <a:pt x="1826" y="3965"/>
                  </a:lnTo>
                  <a:lnTo>
                    <a:pt x="1843" y="3977"/>
                  </a:lnTo>
                  <a:lnTo>
                    <a:pt x="1875" y="4001"/>
                  </a:lnTo>
                  <a:lnTo>
                    <a:pt x="1906" y="4028"/>
                  </a:lnTo>
                  <a:lnTo>
                    <a:pt x="1936" y="4055"/>
                  </a:lnTo>
                  <a:lnTo>
                    <a:pt x="1966" y="4083"/>
                  </a:lnTo>
                  <a:lnTo>
                    <a:pt x="1989" y="4106"/>
                  </a:lnTo>
                  <a:lnTo>
                    <a:pt x="2014" y="4131"/>
                  </a:lnTo>
                  <a:lnTo>
                    <a:pt x="2044" y="4158"/>
                  </a:lnTo>
                  <a:lnTo>
                    <a:pt x="2074" y="4184"/>
                  </a:lnTo>
                  <a:lnTo>
                    <a:pt x="2090" y="4196"/>
                  </a:lnTo>
                  <a:lnTo>
                    <a:pt x="2106" y="4208"/>
                  </a:lnTo>
                  <a:lnTo>
                    <a:pt x="2122" y="4217"/>
                  </a:lnTo>
                  <a:lnTo>
                    <a:pt x="2138" y="4225"/>
                  </a:lnTo>
                  <a:lnTo>
                    <a:pt x="2155" y="4233"/>
                  </a:lnTo>
                  <a:lnTo>
                    <a:pt x="2172" y="4237"/>
                  </a:lnTo>
                  <a:lnTo>
                    <a:pt x="2180" y="4238"/>
                  </a:lnTo>
                  <a:lnTo>
                    <a:pt x="2189" y="4239"/>
                  </a:lnTo>
                  <a:lnTo>
                    <a:pt x="2196" y="4240"/>
                  </a:lnTo>
                  <a:lnTo>
                    <a:pt x="2205" y="4239"/>
                  </a:lnTo>
                  <a:lnTo>
                    <a:pt x="2225" y="4237"/>
                  </a:lnTo>
                  <a:lnTo>
                    <a:pt x="2247" y="4233"/>
                  </a:lnTo>
                  <a:lnTo>
                    <a:pt x="2266" y="4227"/>
                  </a:lnTo>
                  <a:lnTo>
                    <a:pt x="2287" y="4221"/>
                  </a:lnTo>
                  <a:lnTo>
                    <a:pt x="2306" y="4213"/>
                  </a:lnTo>
                  <a:lnTo>
                    <a:pt x="2324" y="4205"/>
                  </a:lnTo>
                  <a:lnTo>
                    <a:pt x="2343" y="4195"/>
                  </a:lnTo>
                  <a:lnTo>
                    <a:pt x="2361" y="4184"/>
                  </a:lnTo>
                  <a:lnTo>
                    <a:pt x="2379" y="4172"/>
                  </a:lnTo>
                  <a:lnTo>
                    <a:pt x="2397" y="4160"/>
                  </a:lnTo>
                  <a:lnTo>
                    <a:pt x="2416" y="4148"/>
                  </a:lnTo>
                  <a:lnTo>
                    <a:pt x="2433" y="4134"/>
                  </a:lnTo>
                  <a:lnTo>
                    <a:pt x="2467" y="4106"/>
                  </a:lnTo>
                  <a:lnTo>
                    <a:pt x="2501" y="4078"/>
                  </a:lnTo>
                  <a:lnTo>
                    <a:pt x="2533" y="4050"/>
                  </a:lnTo>
                  <a:lnTo>
                    <a:pt x="2564" y="4023"/>
                  </a:lnTo>
                  <a:lnTo>
                    <a:pt x="2602" y="3991"/>
                  </a:lnTo>
                  <a:lnTo>
                    <a:pt x="2639" y="3959"/>
                  </a:lnTo>
                  <a:lnTo>
                    <a:pt x="2678" y="3929"/>
                  </a:lnTo>
                  <a:lnTo>
                    <a:pt x="2717" y="3900"/>
                  </a:lnTo>
                  <a:lnTo>
                    <a:pt x="2737" y="3887"/>
                  </a:lnTo>
                  <a:lnTo>
                    <a:pt x="2758" y="3874"/>
                  </a:lnTo>
                  <a:lnTo>
                    <a:pt x="2779" y="3862"/>
                  </a:lnTo>
                  <a:lnTo>
                    <a:pt x="2801" y="3850"/>
                  </a:lnTo>
                  <a:lnTo>
                    <a:pt x="2822" y="3839"/>
                  </a:lnTo>
                  <a:lnTo>
                    <a:pt x="2844" y="3829"/>
                  </a:lnTo>
                  <a:lnTo>
                    <a:pt x="2868" y="3820"/>
                  </a:lnTo>
                  <a:lnTo>
                    <a:pt x="2890" y="3811"/>
                  </a:lnTo>
                  <a:lnTo>
                    <a:pt x="2911" y="3805"/>
                  </a:lnTo>
                  <a:lnTo>
                    <a:pt x="2930" y="3799"/>
                  </a:lnTo>
                  <a:lnTo>
                    <a:pt x="2950" y="3796"/>
                  </a:lnTo>
                  <a:lnTo>
                    <a:pt x="2971" y="3793"/>
                  </a:lnTo>
                  <a:lnTo>
                    <a:pt x="2991" y="3791"/>
                  </a:lnTo>
                  <a:lnTo>
                    <a:pt x="3012" y="3788"/>
                  </a:lnTo>
                  <a:lnTo>
                    <a:pt x="3032" y="3788"/>
                  </a:lnTo>
                  <a:lnTo>
                    <a:pt x="3053" y="3788"/>
                  </a:lnTo>
                  <a:lnTo>
                    <a:pt x="3094" y="3791"/>
                  </a:lnTo>
                  <a:lnTo>
                    <a:pt x="3135" y="3794"/>
                  </a:lnTo>
                  <a:lnTo>
                    <a:pt x="3176" y="3799"/>
                  </a:lnTo>
                  <a:lnTo>
                    <a:pt x="3217" y="3806"/>
                  </a:lnTo>
                  <a:lnTo>
                    <a:pt x="3248" y="3811"/>
                  </a:lnTo>
                  <a:lnTo>
                    <a:pt x="3285" y="3817"/>
                  </a:lnTo>
                  <a:lnTo>
                    <a:pt x="3325" y="3823"/>
                  </a:lnTo>
                  <a:lnTo>
                    <a:pt x="3366" y="3826"/>
                  </a:lnTo>
                  <a:lnTo>
                    <a:pt x="3386" y="3827"/>
                  </a:lnTo>
                  <a:lnTo>
                    <a:pt x="3406" y="3827"/>
                  </a:lnTo>
                  <a:lnTo>
                    <a:pt x="3426" y="3826"/>
                  </a:lnTo>
                  <a:lnTo>
                    <a:pt x="3444" y="3824"/>
                  </a:lnTo>
                  <a:lnTo>
                    <a:pt x="3462" y="3820"/>
                  </a:lnTo>
                  <a:lnTo>
                    <a:pt x="3479" y="3814"/>
                  </a:lnTo>
                  <a:lnTo>
                    <a:pt x="3486" y="3811"/>
                  </a:lnTo>
                  <a:lnTo>
                    <a:pt x="3494" y="3808"/>
                  </a:lnTo>
                  <a:lnTo>
                    <a:pt x="3500" y="3803"/>
                  </a:lnTo>
                  <a:lnTo>
                    <a:pt x="3506" y="3798"/>
                  </a:lnTo>
                  <a:lnTo>
                    <a:pt x="3523" y="3784"/>
                  </a:lnTo>
                  <a:lnTo>
                    <a:pt x="3538" y="3769"/>
                  </a:lnTo>
                  <a:lnTo>
                    <a:pt x="3551" y="3753"/>
                  </a:lnTo>
                  <a:lnTo>
                    <a:pt x="3562" y="3736"/>
                  </a:lnTo>
                  <a:lnTo>
                    <a:pt x="3573" y="3719"/>
                  </a:lnTo>
                  <a:lnTo>
                    <a:pt x="3582" y="3701"/>
                  </a:lnTo>
                  <a:lnTo>
                    <a:pt x="3590" y="3684"/>
                  </a:lnTo>
                  <a:lnTo>
                    <a:pt x="3599" y="3665"/>
                  </a:lnTo>
                  <a:lnTo>
                    <a:pt x="3605" y="3646"/>
                  </a:lnTo>
                  <a:lnTo>
                    <a:pt x="3613" y="3627"/>
                  </a:lnTo>
                  <a:lnTo>
                    <a:pt x="3618" y="3607"/>
                  </a:lnTo>
                  <a:lnTo>
                    <a:pt x="3625" y="3586"/>
                  </a:lnTo>
                  <a:lnTo>
                    <a:pt x="3636" y="3546"/>
                  </a:lnTo>
                  <a:lnTo>
                    <a:pt x="3644" y="3506"/>
                  </a:lnTo>
                  <a:lnTo>
                    <a:pt x="3653" y="3466"/>
                  </a:lnTo>
                  <a:lnTo>
                    <a:pt x="3661" y="3428"/>
                  </a:lnTo>
                  <a:lnTo>
                    <a:pt x="3672" y="3381"/>
                  </a:lnTo>
                  <a:lnTo>
                    <a:pt x="3683" y="3334"/>
                  </a:lnTo>
                  <a:lnTo>
                    <a:pt x="3696" y="3287"/>
                  </a:lnTo>
                  <a:lnTo>
                    <a:pt x="3711" y="3242"/>
                  </a:lnTo>
                  <a:lnTo>
                    <a:pt x="3718" y="3220"/>
                  </a:lnTo>
                  <a:lnTo>
                    <a:pt x="3727" y="3197"/>
                  </a:lnTo>
                  <a:lnTo>
                    <a:pt x="3737" y="3174"/>
                  </a:lnTo>
                  <a:lnTo>
                    <a:pt x="3746" y="3153"/>
                  </a:lnTo>
                  <a:lnTo>
                    <a:pt x="3758" y="3131"/>
                  </a:lnTo>
                  <a:lnTo>
                    <a:pt x="3770" y="3111"/>
                  </a:lnTo>
                  <a:lnTo>
                    <a:pt x="3783" y="3090"/>
                  </a:lnTo>
                  <a:lnTo>
                    <a:pt x="3797" y="3070"/>
                  </a:lnTo>
                  <a:lnTo>
                    <a:pt x="3809" y="3053"/>
                  </a:lnTo>
                  <a:lnTo>
                    <a:pt x="3823" y="3038"/>
                  </a:lnTo>
                  <a:lnTo>
                    <a:pt x="3837" y="3023"/>
                  </a:lnTo>
                  <a:lnTo>
                    <a:pt x="3852" y="3008"/>
                  </a:lnTo>
                  <a:lnTo>
                    <a:pt x="3867" y="2995"/>
                  </a:lnTo>
                  <a:lnTo>
                    <a:pt x="3883" y="2982"/>
                  </a:lnTo>
                  <a:lnTo>
                    <a:pt x="3900" y="2970"/>
                  </a:lnTo>
                  <a:lnTo>
                    <a:pt x="3916" y="2958"/>
                  </a:lnTo>
                  <a:lnTo>
                    <a:pt x="3952" y="2937"/>
                  </a:lnTo>
                  <a:lnTo>
                    <a:pt x="3988" y="2916"/>
                  </a:lnTo>
                  <a:lnTo>
                    <a:pt x="4025" y="2897"/>
                  </a:lnTo>
                  <a:lnTo>
                    <a:pt x="4063" y="2880"/>
                  </a:lnTo>
                  <a:lnTo>
                    <a:pt x="4089" y="2867"/>
                  </a:lnTo>
                  <a:lnTo>
                    <a:pt x="4122" y="2852"/>
                  </a:lnTo>
                  <a:lnTo>
                    <a:pt x="4156" y="2835"/>
                  </a:lnTo>
                  <a:lnTo>
                    <a:pt x="4191" y="2815"/>
                  </a:lnTo>
                  <a:lnTo>
                    <a:pt x="4208" y="2806"/>
                  </a:lnTo>
                  <a:lnTo>
                    <a:pt x="4224" y="2794"/>
                  </a:lnTo>
                  <a:lnTo>
                    <a:pt x="4239" y="2783"/>
                  </a:lnTo>
                  <a:lnTo>
                    <a:pt x="4252" y="2770"/>
                  </a:lnTo>
                  <a:lnTo>
                    <a:pt x="4264" y="2758"/>
                  </a:lnTo>
                  <a:lnTo>
                    <a:pt x="4275" y="2745"/>
                  </a:lnTo>
                  <a:lnTo>
                    <a:pt x="4278" y="2738"/>
                  </a:lnTo>
                  <a:lnTo>
                    <a:pt x="4282" y="2731"/>
                  </a:lnTo>
                  <a:lnTo>
                    <a:pt x="4284" y="2725"/>
                  </a:lnTo>
                  <a:lnTo>
                    <a:pt x="4286" y="2717"/>
                  </a:lnTo>
                  <a:lnTo>
                    <a:pt x="4291" y="2701"/>
                  </a:lnTo>
                  <a:lnTo>
                    <a:pt x="4293" y="2684"/>
                  </a:lnTo>
                  <a:lnTo>
                    <a:pt x="4294" y="2668"/>
                  </a:lnTo>
                  <a:lnTo>
                    <a:pt x="4294" y="2651"/>
                  </a:lnTo>
                  <a:lnTo>
                    <a:pt x="4293" y="2631"/>
                  </a:lnTo>
                  <a:lnTo>
                    <a:pt x="4290" y="2612"/>
                  </a:lnTo>
                  <a:lnTo>
                    <a:pt x="4286" y="2592"/>
                  </a:lnTo>
                  <a:lnTo>
                    <a:pt x="4282" y="2571"/>
                  </a:lnTo>
                  <a:lnTo>
                    <a:pt x="4276" y="2551"/>
                  </a:lnTo>
                  <a:lnTo>
                    <a:pt x="4269" y="2530"/>
                  </a:lnTo>
                  <a:lnTo>
                    <a:pt x="4263" y="2510"/>
                  </a:lnTo>
                  <a:lnTo>
                    <a:pt x="4254" y="2490"/>
                  </a:lnTo>
                  <a:lnTo>
                    <a:pt x="4238" y="2450"/>
                  </a:lnTo>
                  <a:lnTo>
                    <a:pt x="4220" y="2411"/>
                  </a:lnTo>
                  <a:lnTo>
                    <a:pt x="4201" y="2373"/>
                  </a:lnTo>
                  <a:lnTo>
                    <a:pt x="4185" y="2338"/>
                  </a:lnTo>
                  <a:lnTo>
                    <a:pt x="4164" y="2294"/>
                  </a:lnTo>
                  <a:lnTo>
                    <a:pt x="4144" y="2250"/>
                  </a:lnTo>
                  <a:lnTo>
                    <a:pt x="4126" y="2204"/>
                  </a:lnTo>
                  <a:lnTo>
                    <a:pt x="4109" y="2158"/>
                  </a:lnTo>
                  <a:lnTo>
                    <a:pt x="4101" y="2136"/>
                  </a:lnTo>
                  <a:lnTo>
                    <a:pt x="4095" y="2112"/>
                  </a:lnTo>
                  <a:lnTo>
                    <a:pt x="4088" y="2089"/>
                  </a:lnTo>
                  <a:lnTo>
                    <a:pt x="4083" y="2066"/>
                  </a:lnTo>
                  <a:lnTo>
                    <a:pt x="4079" y="2041"/>
                  </a:lnTo>
                  <a:lnTo>
                    <a:pt x="4076" y="2017"/>
                  </a:lnTo>
                  <a:lnTo>
                    <a:pt x="4073" y="1993"/>
                  </a:lnTo>
                  <a:lnTo>
                    <a:pt x="4071" y="1969"/>
                  </a:lnTo>
                  <a:lnTo>
                    <a:pt x="4071" y="1947"/>
                  </a:lnTo>
                  <a:lnTo>
                    <a:pt x="4072" y="1927"/>
                  </a:lnTo>
                  <a:lnTo>
                    <a:pt x="4076" y="1908"/>
                  </a:lnTo>
                  <a:lnTo>
                    <a:pt x="4079" y="1887"/>
                  </a:lnTo>
                  <a:lnTo>
                    <a:pt x="4083" y="1867"/>
                  </a:lnTo>
                  <a:lnTo>
                    <a:pt x="4087" y="1847"/>
                  </a:lnTo>
                  <a:lnTo>
                    <a:pt x="4094" y="1828"/>
                  </a:lnTo>
                  <a:lnTo>
                    <a:pt x="4100" y="1809"/>
                  </a:lnTo>
                  <a:lnTo>
                    <a:pt x="4115" y="1771"/>
                  </a:lnTo>
                  <a:lnTo>
                    <a:pt x="4133" y="1734"/>
                  </a:lnTo>
                  <a:lnTo>
                    <a:pt x="4152" y="1698"/>
                  </a:lnTo>
                  <a:lnTo>
                    <a:pt x="4171" y="1662"/>
                  </a:lnTo>
                  <a:lnTo>
                    <a:pt x="4185" y="1637"/>
                  </a:lnTo>
                  <a:lnTo>
                    <a:pt x="4201" y="1608"/>
                  </a:lnTo>
                  <a:lnTo>
                    <a:pt x="4219" y="1574"/>
                  </a:lnTo>
                  <a:lnTo>
                    <a:pt x="4235" y="1540"/>
                  </a:lnTo>
                  <a:lnTo>
                    <a:pt x="4242" y="1523"/>
                  </a:lnTo>
                  <a:lnTo>
                    <a:pt x="4248" y="1505"/>
                  </a:lnTo>
                  <a:lnTo>
                    <a:pt x="4253" y="1488"/>
                  </a:lnTo>
                  <a:lnTo>
                    <a:pt x="4256" y="1471"/>
                  </a:lnTo>
                  <a:lnTo>
                    <a:pt x="4258" y="1455"/>
                  </a:lnTo>
                  <a:lnTo>
                    <a:pt x="4258" y="1439"/>
                  </a:lnTo>
                  <a:lnTo>
                    <a:pt x="4257" y="1431"/>
                  </a:lnTo>
                  <a:lnTo>
                    <a:pt x="4256" y="1424"/>
                  </a:lnTo>
                  <a:lnTo>
                    <a:pt x="4254" y="1417"/>
                  </a:lnTo>
                  <a:lnTo>
                    <a:pt x="4252" y="1410"/>
                  </a:lnTo>
                  <a:lnTo>
                    <a:pt x="4245" y="1398"/>
                  </a:lnTo>
                  <a:lnTo>
                    <a:pt x="4239" y="1385"/>
                  </a:lnTo>
                  <a:lnTo>
                    <a:pt x="4231" y="1373"/>
                  </a:lnTo>
                  <a:lnTo>
                    <a:pt x="4223" y="1361"/>
                  </a:lnTo>
                  <a:lnTo>
                    <a:pt x="4210" y="1345"/>
                  </a:lnTo>
                  <a:lnTo>
                    <a:pt x="4196" y="1330"/>
                  </a:lnTo>
                  <a:lnTo>
                    <a:pt x="4180" y="1314"/>
                  </a:lnTo>
                  <a:lnTo>
                    <a:pt x="4164" y="1300"/>
                  </a:lnTo>
                  <a:lnTo>
                    <a:pt x="4147" y="1286"/>
                  </a:lnTo>
                  <a:lnTo>
                    <a:pt x="4127" y="1272"/>
                  </a:lnTo>
                  <a:lnTo>
                    <a:pt x="4109" y="1259"/>
                  </a:lnTo>
                  <a:lnTo>
                    <a:pt x="4088" y="1246"/>
                  </a:lnTo>
                  <a:lnTo>
                    <a:pt x="4049" y="1221"/>
                  </a:lnTo>
                  <a:lnTo>
                    <a:pt x="4009" y="1199"/>
                  </a:lnTo>
                  <a:lnTo>
                    <a:pt x="3969" y="1177"/>
                  </a:lnTo>
                  <a:lnTo>
                    <a:pt x="3932" y="1158"/>
                  </a:lnTo>
                  <a:lnTo>
                    <a:pt x="3888" y="1134"/>
                  </a:lnTo>
                  <a:lnTo>
                    <a:pt x="3845" y="1110"/>
                  </a:lnTo>
                  <a:lnTo>
                    <a:pt x="3803" y="1084"/>
                  </a:lnTo>
                  <a:lnTo>
                    <a:pt x="3761" y="1057"/>
                  </a:lnTo>
                  <a:lnTo>
                    <a:pt x="3741" y="1043"/>
                  </a:lnTo>
                  <a:lnTo>
                    <a:pt x="3722" y="1028"/>
                  </a:lnTo>
                  <a:lnTo>
                    <a:pt x="3702" y="1012"/>
                  </a:lnTo>
                  <a:lnTo>
                    <a:pt x="3683" y="996"/>
                  </a:lnTo>
                  <a:lnTo>
                    <a:pt x="3666" y="980"/>
                  </a:lnTo>
                  <a:lnTo>
                    <a:pt x="3647" y="962"/>
                  </a:lnTo>
                  <a:lnTo>
                    <a:pt x="3631" y="944"/>
                  </a:lnTo>
                  <a:lnTo>
                    <a:pt x="3615" y="925"/>
                  </a:lnTo>
                  <a:lnTo>
                    <a:pt x="3602" y="909"/>
                  </a:lnTo>
                  <a:lnTo>
                    <a:pt x="3590" y="891"/>
                  </a:lnTo>
                  <a:lnTo>
                    <a:pt x="3580" y="874"/>
                  </a:lnTo>
                  <a:lnTo>
                    <a:pt x="3571" y="857"/>
                  </a:lnTo>
                  <a:lnTo>
                    <a:pt x="3562" y="839"/>
                  </a:lnTo>
                  <a:lnTo>
                    <a:pt x="3554" y="820"/>
                  </a:lnTo>
                  <a:lnTo>
                    <a:pt x="3547" y="801"/>
                  </a:lnTo>
                  <a:lnTo>
                    <a:pt x="3541" y="782"/>
                  </a:lnTo>
                  <a:lnTo>
                    <a:pt x="3529" y="744"/>
                  </a:lnTo>
                  <a:lnTo>
                    <a:pt x="3520" y="704"/>
                  </a:lnTo>
                  <a:lnTo>
                    <a:pt x="3513" y="664"/>
                  </a:lnTo>
                  <a:lnTo>
                    <a:pt x="3506" y="625"/>
                  </a:lnTo>
                  <a:lnTo>
                    <a:pt x="3502" y="595"/>
                  </a:lnTo>
                  <a:lnTo>
                    <a:pt x="3497" y="560"/>
                  </a:lnTo>
                  <a:lnTo>
                    <a:pt x="3491" y="524"/>
                  </a:lnTo>
                  <a:lnTo>
                    <a:pt x="3483" y="486"/>
                  </a:lnTo>
                  <a:lnTo>
                    <a:pt x="3477" y="468"/>
                  </a:lnTo>
                  <a:lnTo>
                    <a:pt x="3471" y="450"/>
                  </a:lnTo>
                  <a:lnTo>
                    <a:pt x="3465" y="434"/>
                  </a:lnTo>
                  <a:lnTo>
                    <a:pt x="3457" y="418"/>
                  </a:lnTo>
                  <a:lnTo>
                    <a:pt x="3447" y="404"/>
                  </a:lnTo>
                  <a:lnTo>
                    <a:pt x="3438" y="391"/>
                  </a:lnTo>
                  <a:lnTo>
                    <a:pt x="3432" y="386"/>
                  </a:lnTo>
                  <a:lnTo>
                    <a:pt x="3426" y="381"/>
                  </a:lnTo>
                  <a:lnTo>
                    <a:pt x="3420" y="375"/>
                  </a:lnTo>
                  <a:lnTo>
                    <a:pt x="3414" y="371"/>
                  </a:lnTo>
                  <a:lnTo>
                    <a:pt x="3399" y="363"/>
                  </a:lnTo>
                  <a:lnTo>
                    <a:pt x="3385" y="357"/>
                  </a:lnTo>
                  <a:lnTo>
                    <a:pt x="3370" y="350"/>
                  </a:lnTo>
                  <a:lnTo>
                    <a:pt x="3354" y="345"/>
                  </a:lnTo>
                  <a:lnTo>
                    <a:pt x="3333" y="340"/>
                  </a:lnTo>
                  <a:lnTo>
                    <a:pt x="3312" y="335"/>
                  </a:lnTo>
                  <a:lnTo>
                    <a:pt x="3290" y="332"/>
                  </a:lnTo>
                  <a:lnTo>
                    <a:pt x="3268" y="330"/>
                  </a:lnTo>
                  <a:lnTo>
                    <a:pt x="3244" y="329"/>
                  </a:lnTo>
                  <a:lnTo>
                    <a:pt x="3221" y="328"/>
                  </a:lnTo>
                  <a:lnTo>
                    <a:pt x="3198" y="328"/>
                  </a:lnTo>
                  <a:lnTo>
                    <a:pt x="3174" y="329"/>
                  </a:lnTo>
                  <a:lnTo>
                    <a:pt x="3127" y="331"/>
                  </a:lnTo>
                  <a:lnTo>
                    <a:pt x="3079" y="335"/>
                  </a:lnTo>
                  <a:lnTo>
                    <a:pt x="3034" y="341"/>
                  </a:lnTo>
                  <a:lnTo>
                    <a:pt x="2991" y="345"/>
                  </a:lnTo>
                  <a:lnTo>
                    <a:pt x="2942" y="350"/>
                  </a:lnTo>
                  <a:lnTo>
                    <a:pt x="2892" y="355"/>
                  </a:lnTo>
                  <a:lnTo>
                    <a:pt x="2843" y="358"/>
                  </a:lnTo>
                  <a:lnTo>
                    <a:pt x="2793" y="359"/>
                  </a:lnTo>
                  <a:lnTo>
                    <a:pt x="2767" y="359"/>
                  </a:lnTo>
                  <a:lnTo>
                    <a:pt x="2743" y="358"/>
                  </a:lnTo>
                  <a:lnTo>
                    <a:pt x="2718" y="356"/>
                  </a:lnTo>
                  <a:lnTo>
                    <a:pt x="2693" y="354"/>
                  </a:lnTo>
                  <a:lnTo>
                    <a:pt x="2670" y="350"/>
                  </a:lnTo>
                  <a:lnTo>
                    <a:pt x="2645" y="346"/>
                  </a:lnTo>
                  <a:lnTo>
                    <a:pt x="2620" y="341"/>
                  </a:lnTo>
                  <a:lnTo>
                    <a:pt x="2596" y="334"/>
                  </a:lnTo>
                  <a:lnTo>
                    <a:pt x="2576" y="329"/>
                  </a:lnTo>
                  <a:lnTo>
                    <a:pt x="2557" y="321"/>
                  </a:lnTo>
                  <a:lnTo>
                    <a:pt x="2538" y="314"/>
                  </a:lnTo>
                  <a:lnTo>
                    <a:pt x="2520" y="305"/>
                  </a:lnTo>
                  <a:lnTo>
                    <a:pt x="2502" y="296"/>
                  </a:lnTo>
                  <a:lnTo>
                    <a:pt x="2485" y="285"/>
                  </a:lnTo>
                  <a:lnTo>
                    <a:pt x="2467" y="274"/>
                  </a:lnTo>
                  <a:lnTo>
                    <a:pt x="2451" y="262"/>
                  </a:lnTo>
                  <a:lnTo>
                    <a:pt x="2419" y="238"/>
                  </a:lnTo>
                  <a:lnTo>
                    <a:pt x="2388" y="212"/>
                  </a:lnTo>
                  <a:lnTo>
                    <a:pt x="2358" y="184"/>
                  </a:lnTo>
                  <a:lnTo>
                    <a:pt x="2328" y="156"/>
                  </a:lnTo>
                  <a:lnTo>
                    <a:pt x="2305" y="133"/>
                  </a:lnTo>
                  <a:lnTo>
                    <a:pt x="2279" y="107"/>
                  </a:lnTo>
                  <a:lnTo>
                    <a:pt x="2250" y="81"/>
                  </a:lnTo>
                  <a:lnTo>
                    <a:pt x="2220" y="55"/>
                  </a:lnTo>
                  <a:lnTo>
                    <a:pt x="2204" y="43"/>
                  </a:lnTo>
                  <a:lnTo>
                    <a:pt x="2188" y="32"/>
                  </a:lnTo>
                  <a:lnTo>
                    <a:pt x="2172" y="22"/>
                  </a:lnTo>
                  <a:lnTo>
                    <a:pt x="2155" y="14"/>
                  </a:lnTo>
                  <a:lnTo>
                    <a:pt x="2138" y="7"/>
                  </a:lnTo>
                  <a:lnTo>
                    <a:pt x="2122" y="3"/>
                  </a:lnTo>
                  <a:lnTo>
                    <a:pt x="2113" y="1"/>
                  </a:lnTo>
                  <a:lnTo>
                    <a:pt x="2106" y="0"/>
                  </a:lnTo>
                  <a:lnTo>
                    <a:pt x="2097" y="0"/>
                  </a:lnTo>
                  <a:lnTo>
                    <a:pt x="2089" y="0"/>
                  </a:lnTo>
                  <a:close/>
                </a:path>
              </a:pathLst>
            </a:custGeom>
            <a:blipFill dpi="0" rotWithShape="0">
              <a:blip r:embed="rId20" cstate="print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63"/>
            <p:cNvSpPr>
              <a:spLocks noChangeArrowheads="1"/>
            </p:cNvSpPr>
            <p:nvPr/>
          </p:nvSpPr>
          <p:spPr bwMode="auto">
            <a:xfrm>
              <a:off x="5852411" y="2970213"/>
              <a:ext cx="9938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342900" indent="-342900" defTabSz="895350"/>
              <a:r>
                <a:rPr lang="en-GB" sz="1400" dirty="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6" name="Rectangle 14"/>
          <p:cNvSpPr txBox="1">
            <a:spLocks/>
          </p:cNvSpPr>
          <p:nvPr/>
        </p:nvSpPr>
        <p:spPr>
          <a:xfrm>
            <a:off x="6124795" y="2706688"/>
            <a:ext cx="13716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Platinum level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Score &gt; 4.6</a:t>
            </a:r>
          </a:p>
        </p:txBody>
      </p:sp>
      <p:sp>
        <p:nvSpPr>
          <p:cNvPr id="57" name="Rectangle 14"/>
          <p:cNvSpPr txBox="1">
            <a:spLocks/>
          </p:cNvSpPr>
          <p:nvPr/>
        </p:nvSpPr>
        <p:spPr>
          <a:xfrm>
            <a:off x="6124795" y="4167198"/>
            <a:ext cx="13716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Silver level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2.6 &lt; Score &lt; 3.5</a:t>
            </a:r>
          </a:p>
        </p:txBody>
      </p:sp>
      <p:sp>
        <p:nvSpPr>
          <p:cNvPr id="58" name="Rectangle 55"/>
          <p:cNvSpPr>
            <a:spLocks noChangeArrowheads="1"/>
          </p:cNvSpPr>
          <p:nvPr/>
        </p:nvSpPr>
        <p:spPr bwMode="auto">
          <a:xfrm>
            <a:off x="8277863" y="5113008"/>
            <a:ext cx="993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US" sz="1400" dirty="0">
                <a:solidFill>
                  <a:srgbClr val="000000"/>
                </a:solidFill>
              </a:rPr>
              <a:t>0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9" name="Rectangle 55"/>
          <p:cNvSpPr>
            <a:spLocks noChangeArrowheads="1"/>
          </p:cNvSpPr>
          <p:nvPr/>
        </p:nvSpPr>
        <p:spPr bwMode="auto">
          <a:xfrm>
            <a:off x="8178477" y="3508946"/>
            <a:ext cx="19877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US" sz="1400" dirty="0">
                <a:solidFill>
                  <a:srgbClr val="000000"/>
                </a:solidFill>
              </a:rPr>
              <a:t>17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60" name="Rectangle 55"/>
          <p:cNvSpPr>
            <a:spLocks noChangeArrowheads="1"/>
          </p:cNvSpPr>
          <p:nvPr/>
        </p:nvSpPr>
        <p:spPr bwMode="auto">
          <a:xfrm>
            <a:off x="8178477" y="2829490"/>
            <a:ext cx="19877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US" sz="1400" dirty="0">
                <a:solidFill>
                  <a:srgbClr val="000000"/>
                </a:solidFill>
              </a:rPr>
              <a:t>15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61" name="Rectangle 55"/>
          <p:cNvSpPr>
            <a:spLocks noChangeArrowheads="1"/>
          </p:cNvSpPr>
          <p:nvPr/>
        </p:nvSpPr>
        <p:spPr bwMode="auto">
          <a:xfrm>
            <a:off x="8277863" y="4290000"/>
            <a:ext cx="993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US" sz="1400" dirty="0">
                <a:solidFill>
                  <a:srgbClr val="000000"/>
                </a:solidFill>
              </a:rPr>
              <a:t>1</a:t>
            </a: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5633321" y="4167198"/>
            <a:ext cx="495873" cy="517185"/>
            <a:chOff x="5665087" y="3698880"/>
            <a:chExt cx="563563" cy="776289"/>
          </a:xfrm>
        </p:grpSpPr>
        <p:sp>
          <p:nvSpPr>
            <p:cNvPr id="63" name="Freeform 71"/>
            <p:cNvSpPr>
              <a:spLocks/>
            </p:cNvSpPr>
            <p:nvPr/>
          </p:nvSpPr>
          <p:spPr bwMode="auto">
            <a:xfrm>
              <a:off x="5673025" y="4064006"/>
              <a:ext cx="555625" cy="411163"/>
            </a:xfrm>
            <a:custGeom>
              <a:avLst/>
              <a:gdLst>
                <a:gd name="T0" fmla="*/ 16 w 1758"/>
                <a:gd name="T1" fmla="*/ 0 h 1299"/>
                <a:gd name="T2" fmla="*/ 0 w 1758"/>
                <a:gd name="T3" fmla="*/ 43 h 1299"/>
                <a:gd name="T4" fmla="*/ 17 w 1758"/>
                <a:gd name="T5" fmla="*/ 33 h 1299"/>
                <a:gd name="T6" fmla="*/ 22 w 1758"/>
                <a:gd name="T7" fmla="*/ 52 h 1299"/>
                <a:gd name="T8" fmla="*/ 33 w 1758"/>
                <a:gd name="T9" fmla="*/ 22 h 1299"/>
                <a:gd name="T10" fmla="*/ 51 w 1758"/>
                <a:gd name="T11" fmla="*/ 50 h 1299"/>
                <a:gd name="T12" fmla="*/ 55 w 1758"/>
                <a:gd name="T13" fmla="*/ 34 h 1299"/>
                <a:gd name="T14" fmla="*/ 70 w 1758"/>
                <a:gd name="T15" fmla="*/ 37 h 1299"/>
                <a:gd name="T16" fmla="*/ 52 w 1758"/>
                <a:gd name="T17" fmla="*/ 10 h 1299"/>
                <a:gd name="T18" fmla="*/ 45 w 1758"/>
                <a:gd name="T19" fmla="*/ 0 h 1299"/>
                <a:gd name="T20" fmla="*/ 34 w 1758"/>
                <a:gd name="T21" fmla="*/ 1 h 1299"/>
                <a:gd name="T22" fmla="*/ 16 w 1758"/>
                <a:gd name="T23" fmla="*/ 0 h 129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58" h="1299">
                  <a:moveTo>
                    <a:pt x="414" y="6"/>
                  </a:moveTo>
                  <a:cubicBezTo>
                    <a:pt x="234" y="627"/>
                    <a:pt x="0" y="1083"/>
                    <a:pt x="0" y="1083"/>
                  </a:cubicBezTo>
                  <a:cubicBezTo>
                    <a:pt x="78" y="1098"/>
                    <a:pt x="435" y="831"/>
                    <a:pt x="435" y="831"/>
                  </a:cubicBezTo>
                  <a:cubicBezTo>
                    <a:pt x="501" y="1065"/>
                    <a:pt x="531" y="1293"/>
                    <a:pt x="540" y="1299"/>
                  </a:cubicBezTo>
                  <a:cubicBezTo>
                    <a:pt x="669" y="1125"/>
                    <a:pt x="837" y="564"/>
                    <a:pt x="837" y="564"/>
                  </a:cubicBezTo>
                  <a:cubicBezTo>
                    <a:pt x="963" y="807"/>
                    <a:pt x="1184" y="1212"/>
                    <a:pt x="1275" y="1260"/>
                  </a:cubicBezTo>
                  <a:lnTo>
                    <a:pt x="1383" y="852"/>
                  </a:lnTo>
                  <a:cubicBezTo>
                    <a:pt x="1383" y="852"/>
                    <a:pt x="1587" y="945"/>
                    <a:pt x="1758" y="945"/>
                  </a:cubicBezTo>
                  <a:cubicBezTo>
                    <a:pt x="1611" y="819"/>
                    <a:pt x="1403" y="412"/>
                    <a:pt x="1299" y="255"/>
                  </a:cubicBezTo>
                  <a:lnTo>
                    <a:pt x="1131" y="0"/>
                  </a:lnTo>
                  <a:lnTo>
                    <a:pt x="858" y="30"/>
                  </a:lnTo>
                  <a:cubicBezTo>
                    <a:pt x="858" y="30"/>
                    <a:pt x="636" y="18"/>
                    <a:pt x="414" y="6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7"/>
            <p:cNvSpPr>
              <a:spLocks/>
            </p:cNvSpPr>
            <p:nvPr/>
          </p:nvSpPr>
          <p:spPr bwMode="auto">
            <a:xfrm>
              <a:off x="5665087" y="3698880"/>
              <a:ext cx="517525" cy="512763"/>
            </a:xfrm>
            <a:custGeom>
              <a:avLst/>
              <a:gdLst>
                <a:gd name="T0" fmla="*/ 11 w 4916"/>
                <a:gd name="T1" fmla="*/ 0 h 4859"/>
                <a:gd name="T2" fmla="*/ 12 w 4916"/>
                <a:gd name="T3" fmla="*/ 1 h 4859"/>
                <a:gd name="T4" fmla="*/ 13 w 4916"/>
                <a:gd name="T5" fmla="*/ 2 h 4859"/>
                <a:gd name="T6" fmla="*/ 14 w 4916"/>
                <a:gd name="T7" fmla="*/ 2 h 4859"/>
                <a:gd name="T8" fmla="*/ 16 w 4916"/>
                <a:gd name="T9" fmla="*/ 2 h 4859"/>
                <a:gd name="T10" fmla="*/ 17 w 4916"/>
                <a:gd name="T11" fmla="*/ 2 h 4859"/>
                <a:gd name="T12" fmla="*/ 18 w 4916"/>
                <a:gd name="T13" fmla="*/ 3 h 4859"/>
                <a:gd name="T14" fmla="*/ 18 w 4916"/>
                <a:gd name="T15" fmla="*/ 4 h 4859"/>
                <a:gd name="T16" fmla="*/ 18 w 4916"/>
                <a:gd name="T17" fmla="*/ 5 h 4859"/>
                <a:gd name="T18" fmla="*/ 20 w 4916"/>
                <a:gd name="T19" fmla="*/ 6 h 4859"/>
                <a:gd name="T20" fmla="*/ 21 w 4916"/>
                <a:gd name="T21" fmla="*/ 7 h 4859"/>
                <a:gd name="T22" fmla="*/ 21 w 4916"/>
                <a:gd name="T23" fmla="*/ 7 h 4859"/>
                <a:gd name="T24" fmla="*/ 21 w 4916"/>
                <a:gd name="T25" fmla="*/ 8 h 4859"/>
                <a:gd name="T26" fmla="*/ 21 w 4916"/>
                <a:gd name="T27" fmla="*/ 10 h 4859"/>
                <a:gd name="T28" fmla="*/ 21 w 4916"/>
                <a:gd name="T29" fmla="*/ 11 h 4859"/>
                <a:gd name="T30" fmla="*/ 21 w 4916"/>
                <a:gd name="T31" fmla="*/ 12 h 4859"/>
                <a:gd name="T32" fmla="*/ 22 w 4916"/>
                <a:gd name="T33" fmla="*/ 13 h 4859"/>
                <a:gd name="T34" fmla="*/ 21 w 4916"/>
                <a:gd name="T35" fmla="*/ 14 h 4859"/>
                <a:gd name="T36" fmla="*/ 20 w 4916"/>
                <a:gd name="T37" fmla="*/ 15 h 4859"/>
                <a:gd name="T38" fmla="*/ 19 w 4916"/>
                <a:gd name="T39" fmla="*/ 15 h 4859"/>
                <a:gd name="T40" fmla="*/ 19 w 4916"/>
                <a:gd name="T41" fmla="*/ 16 h 4859"/>
                <a:gd name="T42" fmla="*/ 18 w 4916"/>
                <a:gd name="T43" fmla="*/ 18 h 4859"/>
                <a:gd name="T44" fmla="*/ 18 w 4916"/>
                <a:gd name="T45" fmla="*/ 19 h 4859"/>
                <a:gd name="T46" fmla="*/ 17 w 4916"/>
                <a:gd name="T47" fmla="*/ 19 h 4859"/>
                <a:gd name="T48" fmla="*/ 16 w 4916"/>
                <a:gd name="T49" fmla="*/ 19 h 4859"/>
                <a:gd name="T50" fmla="*/ 15 w 4916"/>
                <a:gd name="T51" fmla="*/ 19 h 4859"/>
                <a:gd name="T52" fmla="*/ 14 w 4916"/>
                <a:gd name="T53" fmla="*/ 20 h 4859"/>
                <a:gd name="T54" fmla="*/ 12 w 4916"/>
                <a:gd name="T55" fmla="*/ 21 h 4859"/>
                <a:gd name="T56" fmla="*/ 11 w 4916"/>
                <a:gd name="T57" fmla="*/ 21 h 4859"/>
                <a:gd name="T58" fmla="*/ 10 w 4916"/>
                <a:gd name="T59" fmla="*/ 21 h 4859"/>
                <a:gd name="T60" fmla="*/ 9 w 4916"/>
                <a:gd name="T61" fmla="*/ 20 h 4859"/>
                <a:gd name="T62" fmla="*/ 8 w 4916"/>
                <a:gd name="T63" fmla="*/ 20 h 4859"/>
                <a:gd name="T64" fmla="*/ 7 w 4916"/>
                <a:gd name="T65" fmla="*/ 20 h 4859"/>
                <a:gd name="T66" fmla="*/ 5 w 4916"/>
                <a:gd name="T67" fmla="*/ 20 h 4859"/>
                <a:gd name="T68" fmla="*/ 4 w 4916"/>
                <a:gd name="T69" fmla="*/ 19 h 4859"/>
                <a:gd name="T70" fmla="*/ 4 w 4916"/>
                <a:gd name="T71" fmla="*/ 19 h 4859"/>
                <a:gd name="T72" fmla="*/ 4 w 4916"/>
                <a:gd name="T73" fmla="*/ 17 h 4859"/>
                <a:gd name="T74" fmla="*/ 3 w 4916"/>
                <a:gd name="T75" fmla="*/ 17 h 4859"/>
                <a:gd name="T76" fmla="*/ 2 w 4916"/>
                <a:gd name="T77" fmla="*/ 16 h 4859"/>
                <a:gd name="T78" fmla="*/ 1 w 4916"/>
                <a:gd name="T79" fmla="*/ 15 h 4859"/>
                <a:gd name="T80" fmla="*/ 0 w 4916"/>
                <a:gd name="T81" fmla="*/ 14 h 4859"/>
                <a:gd name="T82" fmla="*/ 0 w 4916"/>
                <a:gd name="T83" fmla="*/ 13 h 4859"/>
                <a:gd name="T84" fmla="*/ 1 w 4916"/>
                <a:gd name="T85" fmla="*/ 12 h 4859"/>
                <a:gd name="T86" fmla="*/ 1 w 4916"/>
                <a:gd name="T87" fmla="*/ 11 h 4859"/>
                <a:gd name="T88" fmla="*/ 0 w 4916"/>
                <a:gd name="T89" fmla="*/ 9 h 4859"/>
                <a:gd name="T90" fmla="*/ 0 w 4916"/>
                <a:gd name="T91" fmla="*/ 8 h 4859"/>
                <a:gd name="T92" fmla="*/ 0 w 4916"/>
                <a:gd name="T93" fmla="*/ 7 h 4859"/>
                <a:gd name="T94" fmla="*/ 1 w 4916"/>
                <a:gd name="T95" fmla="*/ 7 h 4859"/>
                <a:gd name="T96" fmla="*/ 2 w 4916"/>
                <a:gd name="T97" fmla="*/ 6 h 4859"/>
                <a:gd name="T98" fmla="*/ 3 w 4916"/>
                <a:gd name="T99" fmla="*/ 5 h 4859"/>
                <a:gd name="T100" fmla="*/ 3 w 4916"/>
                <a:gd name="T101" fmla="*/ 3 h 4859"/>
                <a:gd name="T102" fmla="*/ 4 w 4916"/>
                <a:gd name="T103" fmla="*/ 2 h 4859"/>
                <a:gd name="T104" fmla="*/ 5 w 4916"/>
                <a:gd name="T105" fmla="*/ 2 h 4859"/>
                <a:gd name="T106" fmla="*/ 6 w 4916"/>
                <a:gd name="T107" fmla="*/ 2 h 4859"/>
                <a:gd name="T108" fmla="*/ 7 w 4916"/>
                <a:gd name="T109" fmla="*/ 2 h 4859"/>
                <a:gd name="T110" fmla="*/ 8 w 4916"/>
                <a:gd name="T111" fmla="*/ 1 h 4859"/>
                <a:gd name="T112" fmla="*/ 10 w 4916"/>
                <a:gd name="T113" fmla="*/ 0 h 48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916" h="4859">
                  <a:moveTo>
                    <a:pt x="2386" y="1"/>
                  </a:moveTo>
                  <a:lnTo>
                    <a:pt x="2408" y="0"/>
                  </a:lnTo>
                  <a:lnTo>
                    <a:pt x="2429" y="2"/>
                  </a:lnTo>
                  <a:lnTo>
                    <a:pt x="2450" y="4"/>
                  </a:lnTo>
                  <a:lnTo>
                    <a:pt x="2470" y="10"/>
                  </a:lnTo>
                  <a:lnTo>
                    <a:pt x="2490" y="15"/>
                  </a:lnTo>
                  <a:lnTo>
                    <a:pt x="2509" y="24"/>
                  </a:lnTo>
                  <a:lnTo>
                    <a:pt x="2528" y="32"/>
                  </a:lnTo>
                  <a:lnTo>
                    <a:pt x="2546" y="42"/>
                  </a:lnTo>
                  <a:lnTo>
                    <a:pt x="2564" y="54"/>
                  </a:lnTo>
                  <a:lnTo>
                    <a:pt x="2583" y="67"/>
                  </a:lnTo>
                  <a:lnTo>
                    <a:pt x="2600" y="80"/>
                  </a:lnTo>
                  <a:lnTo>
                    <a:pt x="2617" y="94"/>
                  </a:lnTo>
                  <a:lnTo>
                    <a:pt x="2651" y="124"/>
                  </a:lnTo>
                  <a:lnTo>
                    <a:pt x="2686" y="156"/>
                  </a:lnTo>
                  <a:lnTo>
                    <a:pt x="2719" y="188"/>
                  </a:lnTo>
                  <a:lnTo>
                    <a:pt x="2754" y="222"/>
                  </a:lnTo>
                  <a:lnTo>
                    <a:pt x="2788" y="254"/>
                  </a:lnTo>
                  <a:lnTo>
                    <a:pt x="2824" y="284"/>
                  </a:lnTo>
                  <a:lnTo>
                    <a:pt x="2842" y="298"/>
                  </a:lnTo>
                  <a:lnTo>
                    <a:pt x="2860" y="312"/>
                  </a:lnTo>
                  <a:lnTo>
                    <a:pt x="2878" y="324"/>
                  </a:lnTo>
                  <a:lnTo>
                    <a:pt x="2898" y="336"/>
                  </a:lnTo>
                  <a:lnTo>
                    <a:pt x="2917" y="346"/>
                  </a:lnTo>
                  <a:lnTo>
                    <a:pt x="2938" y="356"/>
                  </a:lnTo>
                  <a:lnTo>
                    <a:pt x="2958" y="364"/>
                  </a:lnTo>
                  <a:lnTo>
                    <a:pt x="2978" y="371"/>
                  </a:lnTo>
                  <a:lnTo>
                    <a:pt x="3006" y="378"/>
                  </a:lnTo>
                  <a:lnTo>
                    <a:pt x="3034" y="383"/>
                  </a:lnTo>
                  <a:lnTo>
                    <a:pt x="3063" y="387"/>
                  </a:lnTo>
                  <a:lnTo>
                    <a:pt x="3092" y="391"/>
                  </a:lnTo>
                  <a:lnTo>
                    <a:pt x="3121" y="392"/>
                  </a:lnTo>
                  <a:lnTo>
                    <a:pt x="3151" y="393"/>
                  </a:lnTo>
                  <a:lnTo>
                    <a:pt x="3181" y="393"/>
                  </a:lnTo>
                  <a:lnTo>
                    <a:pt x="3210" y="392"/>
                  </a:lnTo>
                  <a:lnTo>
                    <a:pt x="3270" y="388"/>
                  </a:lnTo>
                  <a:lnTo>
                    <a:pt x="3330" y="383"/>
                  </a:lnTo>
                  <a:lnTo>
                    <a:pt x="3390" y="377"/>
                  </a:lnTo>
                  <a:lnTo>
                    <a:pt x="3451" y="370"/>
                  </a:lnTo>
                  <a:lnTo>
                    <a:pt x="3511" y="365"/>
                  </a:lnTo>
                  <a:lnTo>
                    <a:pt x="3570" y="360"/>
                  </a:lnTo>
                  <a:lnTo>
                    <a:pt x="3599" y="359"/>
                  </a:lnTo>
                  <a:lnTo>
                    <a:pt x="3628" y="359"/>
                  </a:lnTo>
                  <a:lnTo>
                    <a:pt x="3657" y="359"/>
                  </a:lnTo>
                  <a:lnTo>
                    <a:pt x="3686" y="361"/>
                  </a:lnTo>
                  <a:lnTo>
                    <a:pt x="3714" y="364"/>
                  </a:lnTo>
                  <a:lnTo>
                    <a:pt x="3742" y="368"/>
                  </a:lnTo>
                  <a:lnTo>
                    <a:pt x="3769" y="372"/>
                  </a:lnTo>
                  <a:lnTo>
                    <a:pt x="3796" y="380"/>
                  </a:lnTo>
                  <a:lnTo>
                    <a:pt x="3823" y="387"/>
                  </a:lnTo>
                  <a:lnTo>
                    <a:pt x="3849" y="397"/>
                  </a:lnTo>
                  <a:lnTo>
                    <a:pt x="3873" y="409"/>
                  </a:lnTo>
                  <a:lnTo>
                    <a:pt x="3898" y="422"/>
                  </a:lnTo>
                  <a:lnTo>
                    <a:pt x="3916" y="434"/>
                  </a:lnTo>
                  <a:lnTo>
                    <a:pt x="3933" y="446"/>
                  </a:lnTo>
                  <a:lnTo>
                    <a:pt x="3948" y="460"/>
                  </a:lnTo>
                  <a:lnTo>
                    <a:pt x="3962" y="475"/>
                  </a:lnTo>
                  <a:lnTo>
                    <a:pt x="3973" y="492"/>
                  </a:lnTo>
                  <a:lnTo>
                    <a:pt x="3984" y="509"/>
                  </a:lnTo>
                  <a:lnTo>
                    <a:pt x="3994" y="526"/>
                  </a:lnTo>
                  <a:lnTo>
                    <a:pt x="4002" y="545"/>
                  </a:lnTo>
                  <a:lnTo>
                    <a:pt x="4010" y="565"/>
                  </a:lnTo>
                  <a:lnTo>
                    <a:pt x="4016" y="584"/>
                  </a:lnTo>
                  <a:lnTo>
                    <a:pt x="4023" y="606"/>
                  </a:lnTo>
                  <a:lnTo>
                    <a:pt x="4028" y="626"/>
                  </a:lnTo>
                  <a:lnTo>
                    <a:pt x="4038" y="670"/>
                  </a:lnTo>
                  <a:lnTo>
                    <a:pt x="4046" y="715"/>
                  </a:lnTo>
                  <a:lnTo>
                    <a:pt x="4052" y="760"/>
                  </a:lnTo>
                  <a:lnTo>
                    <a:pt x="4059" y="806"/>
                  </a:lnTo>
                  <a:lnTo>
                    <a:pt x="4068" y="852"/>
                  </a:lnTo>
                  <a:lnTo>
                    <a:pt x="4078" y="896"/>
                  </a:lnTo>
                  <a:lnTo>
                    <a:pt x="4083" y="917"/>
                  </a:lnTo>
                  <a:lnTo>
                    <a:pt x="4090" y="939"/>
                  </a:lnTo>
                  <a:lnTo>
                    <a:pt x="4097" y="959"/>
                  </a:lnTo>
                  <a:lnTo>
                    <a:pt x="4106" y="980"/>
                  </a:lnTo>
                  <a:lnTo>
                    <a:pt x="4114" y="999"/>
                  </a:lnTo>
                  <a:lnTo>
                    <a:pt x="4125" y="1017"/>
                  </a:lnTo>
                  <a:lnTo>
                    <a:pt x="4137" y="1036"/>
                  </a:lnTo>
                  <a:lnTo>
                    <a:pt x="4149" y="1053"/>
                  </a:lnTo>
                  <a:lnTo>
                    <a:pt x="4167" y="1074"/>
                  </a:lnTo>
                  <a:lnTo>
                    <a:pt x="4186" y="1095"/>
                  </a:lnTo>
                  <a:lnTo>
                    <a:pt x="4207" y="1114"/>
                  </a:lnTo>
                  <a:lnTo>
                    <a:pt x="4228" y="1133"/>
                  </a:lnTo>
                  <a:lnTo>
                    <a:pt x="4251" y="1150"/>
                  </a:lnTo>
                  <a:lnTo>
                    <a:pt x="4275" y="1167"/>
                  </a:lnTo>
                  <a:lnTo>
                    <a:pt x="4298" y="1184"/>
                  </a:lnTo>
                  <a:lnTo>
                    <a:pt x="4323" y="1199"/>
                  </a:lnTo>
                  <a:lnTo>
                    <a:pt x="4374" y="1230"/>
                  </a:lnTo>
                  <a:lnTo>
                    <a:pt x="4426" y="1259"/>
                  </a:lnTo>
                  <a:lnTo>
                    <a:pt x="4479" y="1288"/>
                  </a:lnTo>
                  <a:lnTo>
                    <a:pt x="4532" y="1316"/>
                  </a:lnTo>
                  <a:lnTo>
                    <a:pt x="4583" y="1345"/>
                  </a:lnTo>
                  <a:lnTo>
                    <a:pt x="4634" y="1376"/>
                  </a:lnTo>
                  <a:lnTo>
                    <a:pt x="4658" y="1392"/>
                  </a:lnTo>
                  <a:lnTo>
                    <a:pt x="4681" y="1408"/>
                  </a:lnTo>
                  <a:lnTo>
                    <a:pt x="4704" y="1424"/>
                  </a:lnTo>
                  <a:lnTo>
                    <a:pt x="4726" y="1441"/>
                  </a:lnTo>
                  <a:lnTo>
                    <a:pt x="4748" y="1459"/>
                  </a:lnTo>
                  <a:lnTo>
                    <a:pt x="4767" y="1478"/>
                  </a:lnTo>
                  <a:lnTo>
                    <a:pt x="4787" y="1497"/>
                  </a:lnTo>
                  <a:lnTo>
                    <a:pt x="4804" y="1518"/>
                  </a:lnTo>
                  <a:lnTo>
                    <a:pt x="4820" y="1539"/>
                  </a:lnTo>
                  <a:lnTo>
                    <a:pt x="4835" y="1562"/>
                  </a:lnTo>
                  <a:lnTo>
                    <a:pt x="4849" y="1585"/>
                  </a:lnTo>
                  <a:lnTo>
                    <a:pt x="4861" y="1610"/>
                  </a:lnTo>
                  <a:lnTo>
                    <a:pt x="4868" y="1629"/>
                  </a:lnTo>
                  <a:lnTo>
                    <a:pt x="4874" y="1649"/>
                  </a:lnTo>
                  <a:lnTo>
                    <a:pt x="4877" y="1668"/>
                  </a:lnTo>
                  <a:lnTo>
                    <a:pt x="4878" y="1687"/>
                  </a:lnTo>
                  <a:lnTo>
                    <a:pt x="4878" y="1708"/>
                  </a:lnTo>
                  <a:lnTo>
                    <a:pt x="4876" y="1727"/>
                  </a:lnTo>
                  <a:lnTo>
                    <a:pt x="4873" y="1748"/>
                  </a:lnTo>
                  <a:lnTo>
                    <a:pt x="4868" y="1767"/>
                  </a:lnTo>
                  <a:lnTo>
                    <a:pt x="4863" y="1787"/>
                  </a:lnTo>
                  <a:lnTo>
                    <a:pt x="4856" y="1808"/>
                  </a:lnTo>
                  <a:lnTo>
                    <a:pt x="4848" y="1827"/>
                  </a:lnTo>
                  <a:lnTo>
                    <a:pt x="4839" y="1848"/>
                  </a:lnTo>
                  <a:lnTo>
                    <a:pt x="4820" y="1889"/>
                  </a:lnTo>
                  <a:lnTo>
                    <a:pt x="4798" y="1929"/>
                  </a:lnTo>
                  <a:lnTo>
                    <a:pt x="4776" y="1970"/>
                  </a:lnTo>
                  <a:lnTo>
                    <a:pt x="4753" y="2011"/>
                  </a:lnTo>
                  <a:lnTo>
                    <a:pt x="4732" y="2052"/>
                  </a:lnTo>
                  <a:lnTo>
                    <a:pt x="4712" y="2094"/>
                  </a:lnTo>
                  <a:lnTo>
                    <a:pt x="4704" y="2114"/>
                  </a:lnTo>
                  <a:lnTo>
                    <a:pt x="4696" y="2136"/>
                  </a:lnTo>
                  <a:lnTo>
                    <a:pt x="4690" y="2156"/>
                  </a:lnTo>
                  <a:lnTo>
                    <a:pt x="4683" y="2177"/>
                  </a:lnTo>
                  <a:lnTo>
                    <a:pt x="4679" y="2198"/>
                  </a:lnTo>
                  <a:lnTo>
                    <a:pt x="4676" y="2219"/>
                  </a:lnTo>
                  <a:lnTo>
                    <a:pt x="4674" y="2240"/>
                  </a:lnTo>
                  <a:lnTo>
                    <a:pt x="4674" y="2262"/>
                  </a:lnTo>
                  <a:lnTo>
                    <a:pt x="4676" y="2289"/>
                  </a:lnTo>
                  <a:lnTo>
                    <a:pt x="4678" y="2315"/>
                  </a:lnTo>
                  <a:lnTo>
                    <a:pt x="4683" y="2343"/>
                  </a:lnTo>
                  <a:lnTo>
                    <a:pt x="4689" y="2370"/>
                  </a:lnTo>
                  <a:lnTo>
                    <a:pt x="4696" y="2397"/>
                  </a:lnTo>
                  <a:lnTo>
                    <a:pt x="4705" y="2424"/>
                  </a:lnTo>
                  <a:lnTo>
                    <a:pt x="4714" y="2451"/>
                  </a:lnTo>
                  <a:lnTo>
                    <a:pt x="4723" y="2477"/>
                  </a:lnTo>
                  <a:lnTo>
                    <a:pt x="4746" y="2531"/>
                  </a:lnTo>
                  <a:lnTo>
                    <a:pt x="4769" y="2583"/>
                  </a:lnTo>
                  <a:lnTo>
                    <a:pt x="4794" y="2636"/>
                  </a:lnTo>
                  <a:lnTo>
                    <a:pt x="4820" y="2689"/>
                  </a:lnTo>
                  <a:lnTo>
                    <a:pt x="4844" y="2741"/>
                  </a:lnTo>
                  <a:lnTo>
                    <a:pt x="4866" y="2794"/>
                  </a:lnTo>
                  <a:lnTo>
                    <a:pt x="4876" y="2820"/>
                  </a:lnTo>
                  <a:lnTo>
                    <a:pt x="4885" y="2847"/>
                  </a:lnTo>
                  <a:lnTo>
                    <a:pt x="4893" y="2872"/>
                  </a:lnTo>
                  <a:lnTo>
                    <a:pt x="4901" y="2898"/>
                  </a:lnTo>
                  <a:lnTo>
                    <a:pt x="4906" y="2925"/>
                  </a:lnTo>
                  <a:lnTo>
                    <a:pt x="4911" y="2951"/>
                  </a:lnTo>
                  <a:lnTo>
                    <a:pt x="4915" y="2978"/>
                  </a:lnTo>
                  <a:lnTo>
                    <a:pt x="4916" y="3004"/>
                  </a:lnTo>
                  <a:lnTo>
                    <a:pt x="4916" y="3031"/>
                  </a:lnTo>
                  <a:lnTo>
                    <a:pt x="4915" y="3057"/>
                  </a:lnTo>
                  <a:lnTo>
                    <a:pt x="4910" y="3083"/>
                  </a:lnTo>
                  <a:lnTo>
                    <a:pt x="4905" y="3110"/>
                  </a:lnTo>
                  <a:lnTo>
                    <a:pt x="4899" y="3131"/>
                  </a:lnTo>
                  <a:lnTo>
                    <a:pt x="4891" y="3149"/>
                  </a:lnTo>
                  <a:lnTo>
                    <a:pt x="4881" y="3167"/>
                  </a:lnTo>
                  <a:lnTo>
                    <a:pt x="4871" y="3183"/>
                  </a:lnTo>
                  <a:lnTo>
                    <a:pt x="4859" y="3199"/>
                  </a:lnTo>
                  <a:lnTo>
                    <a:pt x="4845" y="3214"/>
                  </a:lnTo>
                  <a:lnTo>
                    <a:pt x="4830" y="3230"/>
                  </a:lnTo>
                  <a:lnTo>
                    <a:pt x="4814" y="3242"/>
                  </a:lnTo>
                  <a:lnTo>
                    <a:pt x="4797" y="3255"/>
                  </a:lnTo>
                  <a:lnTo>
                    <a:pt x="4779" y="3268"/>
                  </a:lnTo>
                  <a:lnTo>
                    <a:pt x="4761" y="3280"/>
                  </a:lnTo>
                  <a:lnTo>
                    <a:pt x="4740" y="3292"/>
                  </a:lnTo>
                  <a:lnTo>
                    <a:pt x="4701" y="3313"/>
                  </a:lnTo>
                  <a:lnTo>
                    <a:pt x="4658" y="3334"/>
                  </a:lnTo>
                  <a:lnTo>
                    <a:pt x="4615" y="3355"/>
                  </a:lnTo>
                  <a:lnTo>
                    <a:pt x="4570" y="3376"/>
                  </a:lnTo>
                  <a:lnTo>
                    <a:pt x="4528" y="3397"/>
                  </a:lnTo>
                  <a:lnTo>
                    <a:pt x="4487" y="3420"/>
                  </a:lnTo>
                  <a:lnTo>
                    <a:pt x="4467" y="3432"/>
                  </a:lnTo>
                  <a:lnTo>
                    <a:pt x="4448" y="3445"/>
                  </a:lnTo>
                  <a:lnTo>
                    <a:pt x="4430" y="3457"/>
                  </a:lnTo>
                  <a:lnTo>
                    <a:pt x="4411" y="3471"/>
                  </a:lnTo>
                  <a:lnTo>
                    <a:pt x="4395" y="3485"/>
                  </a:lnTo>
                  <a:lnTo>
                    <a:pt x="4379" y="3500"/>
                  </a:lnTo>
                  <a:lnTo>
                    <a:pt x="4365" y="3517"/>
                  </a:lnTo>
                  <a:lnTo>
                    <a:pt x="4352" y="3534"/>
                  </a:lnTo>
                  <a:lnTo>
                    <a:pt x="4336" y="3556"/>
                  </a:lnTo>
                  <a:lnTo>
                    <a:pt x="4322" y="3581"/>
                  </a:lnTo>
                  <a:lnTo>
                    <a:pt x="4309" y="3605"/>
                  </a:lnTo>
                  <a:lnTo>
                    <a:pt x="4297" y="3631"/>
                  </a:lnTo>
                  <a:lnTo>
                    <a:pt x="4286" y="3656"/>
                  </a:lnTo>
                  <a:lnTo>
                    <a:pt x="4277" y="3682"/>
                  </a:lnTo>
                  <a:lnTo>
                    <a:pt x="4267" y="3709"/>
                  </a:lnTo>
                  <a:lnTo>
                    <a:pt x="4259" y="3737"/>
                  </a:lnTo>
                  <a:lnTo>
                    <a:pt x="4243" y="3792"/>
                  </a:lnTo>
                  <a:lnTo>
                    <a:pt x="4231" y="3849"/>
                  </a:lnTo>
                  <a:lnTo>
                    <a:pt x="4218" y="3905"/>
                  </a:lnTo>
                  <a:lnTo>
                    <a:pt x="4206" y="3962"/>
                  </a:lnTo>
                  <a:lnTo>
                    <a:pt x="4193" y="4018"/>
                  </a:lnTo>
                  <a:lnTo>
                    <a:pt x="4178" y="4073"/>
                  </a:lnTo>
                  <a:lnTo>
                    <a:pt x="4170" y="4099"/>
                  </a:lnTo>
                  <a:lnTo>
                    <a:pt x="4162" y="4126"/>
                  </a:lnTo>
                  <a:lnTo>
                    <a:pt x="4152" y="4152"/>
                  </a:lnTo>
                  <a:lnTo>
                    <a:pt x="4141" y="4177"/>
                  </a:lnTo>
                  <a:lnTo>
                    <a:pt x="4130" y="4202"/>
                  </a:lnTo>
                  <a:lnTo>
                    <a:pt x="4118" y="4225"/>
                  </a:lnTo>
                  <a:lnTo>
                    <a:pt x="4104" y="4249"/>
                  </a:lnTo>
                  <a:lnTo>
                    <a:pt x="4090" y="4272"/>
                  </a:lnTo>
                  <a:lnTo>
                    <a:pt x="4072" y="4293"/>
                  </a:lnTo>
                  <a:lnTo>
                    <a:pt x="4055" y="4313"/>
                  </a:lnTo>
                  <a:lnTo>
                    <a:pt x="4036" y="4333"/>
                  </a:lnTo>
                  <a:lnTo>
                    <a:pt x="4014" y="4351"/>
                  </a:lnTo>
                  <a:lnTo>
                    <a:pt x="3997" y="4364"/>
                  </a:lnTo>
                  <a:lnTo>
                    <a:pt x="3980" y="4375"/>
                  </a:lnTo>
                  <a:lnTo>
                    <a:pt x="3961" y="4384"/>
                  </a:lnTo>
                  <a:lnTo>
                    <a:pt x="3942" y="4392"/>
                  </a:lnTo>
                  <a:lnTo>
                    <a:pt x="3922" y="4397"/>
                  </a:lnTo>
                  <a:lnTo>
                    <a:pt x="3901" y="4402"/>
                  </a:lnTo>
                  <a:lnTo>
                    <a:pt x="3881" y="4405"/>
                  </a:lnTo>
                  <a:lnTo>
                    <a:pt x="3859" y="4407"/>
                  </a:lnTo>
                  <a:lnTo>
                    <a:pt x="3838" y="4408"/>
                  </a:lnTo>
                  <a:lnTo>
                    <a:pt x="3815" y="4408"/>
                  </a:lnTo>
                  <a:lnTo>
                    <a:pt x="3793" y="4408"/>
                  </a:lnTo>
                  <a:lnTo>
                    <a:pt x="3770" y="4406"/>
                  </a:lnTo>
                  <a:lnTo>
                    <a:pt x="3724" y="4401"/>
                  </a:lnTo>
                  <a:lnTo>
                    <a:pt x="3677" y="4394"/>
                  </a:lnTo>
                  <a:lnTo>
                    <a:pt x="3629" y="4387"/>
                  </a:lnTo>
                  <a:lnTo>
                    <a:pt x="3581" y="4379"/>
                  </a:lnTo>
                  <a:lnTo>
                    <a:pt x="3533" y="4373"/>
                  </a:lnTo>
                  <a:lnTo>
                    <a:pt x="3486" y="4368"/>
                  </a:lnTo>
                  <a:lnTo>
                    <a:pt x="3462" y="4366"/>
                  </a:lnTo>
                  <a:lnTo>
                    <a:pt x="3439" y="4366"/>
                  </a:lnTo>
                  <a:lnTo>
                    <a:pt x="3416" y="4366"/>
                  </a:lnTo>
                  <a:lnTo>
                    <a:pt x="3394" y="4367"/>
                  </a:lnTo>
                  <a:lnTo>
                    <a:pt x="3371" y="4369"/>
                  </a:lnTo>
                  <a:lnTo>
                    <a:pt x="3350" y="4374"/>
                  </a:lnTo>
                  <a:lnTo>
                    <a:pt x="3328" y="4378"/>
                  </a:lnTo>
                  <a:lnTo>
                    <a:pt x="3307" y="4384"/>
                  </a:lnTo>
                  <a:lnTo>
                    <a:pt x="3280" y="4394"/>
                  </a:lnTo>
                  <a:lnTo>
                    <a:pt x="3254" y="4406"/>
                  </a:lnTo>
                  <a:lnTo>
                    <a:pt x="3228" y="4419"/>
                  </a:lnTo>
                  <a:lnTo>
                    <a:pt x="3202" y="4432"/>
                  </a:lnTo>
                  <a:lnTo>
                    <a:pt x="3177" y="4447"/>
                  </a:lnTo>
                  <a:lnTo>
                    <a:pt x="3154" y="4463"/>
                  </a:lnTo>
                  <a:lnTo>
                    <a:pt x="3130" y="4479"/>
                  </a:lnTo>
                  <a:lnTo>
                    <a:pt x="3106" y="4497"/>
                  </a:lnTo>
                  <a:lnTo>
                    <a:pt x="3060" y="4534"/>
                  </a:lnTo>
                  <a:lnTo>
                    <a:pt x="3014" y="4572"/>
                  </a:lnTo>
                  <a:lnTo>
                    <a:pt x="2970" y="4610"/>
                  </a:lnTo>
                  <a:lnTo>
                    <a:pt x="2925" y="4650"/>
                  </a:lnTo>
                  <a:lnTo>
                    <a:pt x="2879" y="4688"/>
                  </a:lnTo>
                  <a:lnTo>
                    <a:pt x="2833" y="4724"/>
                  </a:lnTo>
                  <a:lnTo>
                    <a:pt x="2811" y="4741"/>
                  </a:lnTo>
                  <a:lnTo>
                    <a:pt x="2787" y="4758"/>
                  </a:lnTo>
                  <a:lnTo>
                    <a:pt x="2763" y="4774"/>
                  </a:lnTo>
                  <a:lnTo>
                    <a:pt x="2740" y="4788"/>
                  </a:lnTo>
                  <a:lnTo>
                    <a:pt x="2715" y="4802"/>
                  </a:lnTo>
                  <a:lnTo>
                    <a:pt x="2690" y="4815"/>
                  </a:lnTo>
                  <a:lnTo>
                    <a:pt x="2665" y="4825"/>
                  </a:lnTo>
                  <a:lnTo>
                    <a:pt x="2640" y="4835"/>
                  </a:lnTo>
                  <a:lnTo>
                    <a:pt x="2613" y="4844"/>
                  </a:lnTo>
                  <a:lnTo>
                    <a:pt x="2586" y="4850"/>
                  </a:lnTo>
                  <a:lnTo>
                    <a:pt x="2558" y="4855"/>
                  </a:lnTo>
                  <a:lnTo>
                    <a:pt x="2530" y="4858"/>
                  </a:lnTo>
                  <a:lnTo>
                    <a:pt x="2508" y="4859"/>
                  </a:lnTo>
                  <a:lnTo>
                    <a:pt x="2487" y="4858"/>
                  </a:lnTo>
                  <a:lnTo>
                    <a:pt x="2466" y="4854"/>
                  </a:lnTo>
                  <a:lnTo>
                    <a:pt x="2446" y="4850"/>
                  </a:lnTo>
                  <a:lnTo>
                    <a:pt x="2427" y="4844"/>
                  </a:lnTo>
                  <a:lnTo>
                    <a:pt x="2407" y="4836"/>
                  </a:lnTo>
                  <a:lnTo>
                    <a:pt x="2388" y="4828"/>
                  </a:lnTo>
                  <a:lnTo>
                    <a:pt x="2370" y="4817"/>
                  </a:lnTo>
                  <a:lnTo>
                    <a:pt x="2351" y="4805"/>
                  </a:lnTo>
                  <a:lnTo>
                    <a:pt x="2333" y="4793"/>
                  </a:lnTo>
                  <a:lnTo>
                    <a:pt x="2316" y="4780"/>
                  </a:lnTo>
                  <a:lnTo>
                    <a:pt x="2299" y="4766"/>
                  </a:lnTo>
                  <a:lnTo>
                    <a:pt x="2264" y="4736"/>
                  </a:lnTo>
                  <a:lnTo>
                    <a:pt x="2230" y="4704"/>
                  </a:lnTo>
                  <a:lnTo>
                    <a:pt x="2196" y="4671"/>
                  </a:lnTo>
                  <a:lnTo>
                    <a:pt x="2162" y="4638"/>
                  </a:lnTo>
                  <a:lnTo>
                    <a:pt x="2128" y="4606"/>
                  </a:lnTo>
                  <a:lnTo>
                    <a:pt x="2092" y="4576"/>
                  </a:lnTo>
                  <a:lnTo>
                    <a:pt x="2074" y="4561"/>
                  </a:lnTo>
                  <a:lnTo>
                    <a:pt x="2055" y="4548"/>
                  </a:lnTo>
                  <a:lnTo>
                    <a:pt x="2037" y="4535"/>
                  </a:lnTo>
                  <a:lnTo>
                    <a:pt x="2018" y="4523"/>
                  </a:lnTo>
                  <a:lnTo>
                    <a:pt x="1998" y="4512"/>
                  </a:lnTo>
                  <a:lnTo>
                    <a:pt x="1978" y="4504"/>
                  </a:lnTo>
                  <a:lnTo>
                    <a:pt x="1958" y="4495"/>
                  </a:lnTo>
                  <a:lnTo>
                    <a:pt x="1937" y="4489"/>
                  </a:lnTo>
                  <a:lnTo>
                    <a:pt x="1909" y="4481"/>
                  </a:lnTo>
                  <a:lnTo>
                    <a:pt x="1881" y="4476"/>
                  </a:lnTo>
                  <a:lnTo>
                    <a:pt x="1852" y="4473"/>
                  </a:lnTo>
                  <a:lnTo>
                    <a:pt x="1823" y="4469"/>
                  </a:lnTo>
                  <a:lnTo>
                    <a:pt x="1794" y="4467"/>
                  </a:lnTo>
                  <a:lnTo>
                    <a:pt x="1765" y="4466"/>
                  </a:lnTo>
                  <a:lnTo>
                    <a:pt x="1736" y="4466"/>
                  </a:lnTo>
                  <a:lnTo>
                    <a:pt x="1706" y="4467"/>
                  </a:lnTo>
                  <a:lnTo>
                    <a:pt x="1646" y="4472"/>
                  </a:lnTo>
                  <a:lnTo>
                    <a:pt x="1585" y="4477"/>
                  </a:lnTo>
                  <a:lnTo>
                    <a:pt x="1525" y="4483"/>
                  </a:lnTo>
                  <a:lnTo>
                    <a:pt x="1465" y="4490"/>
                  </a:lnTo>
                  <a:lnTo>
                    <a:pt x="1405" y="4495"/>
                  </a:lnTo>
                  <a:lnTo>
                    <a:pt x="1346" y="4500"/>
                  </a:lnTo>
                  <a:lnTo>
                    <a:pt x="1316" y="4501"/>
                  </a:lnTo>
                  <a:lnTo>
                    <a:pt x="1287" y="4501"/>
                  </a:lnTo>
                  <a:lnTo>
                    <a:pt x="1258" y="4500"/>
                  </a:lnTo>
                  <a:lnTo>
                    <a:pt x="1230" y="4498"/>
                  </a:lnTo>
                  <a:lnTo>
                    <a:pt x="1201" y="4495"/>
                  </a:lnTo>
                  <a:lnTo>
                    <a:pt x="1175" y="4492"/>
                  </a:lnTo>
                  <a:lnTo>
                    <a:pt x="1147" y="4487"/>
                  </a:lnTo>
                  <a:lnTo>
                    <a:pt x="1120" y="4480"/>
                  </a:lnTo>
                  <a:lnTo>
                    <a:pt x="1094" y="4472"/>
                  </a:lnTo>
                  <a:lnTo>
                    <a:pt x="1068" y="4462"/>
                  </a:lnTo>
                  <a:lnTo>
                    <a:pt x="1042" y="4451"/>
                  </a:lnTo>
                  <a:lnTo>
                    <a:pt x="1017" y="4437"/>
                  </a:lnTo>
                  <a:lnTo>
                    <a:pt x="999" y="4425"/>
                  </a:lnTo>
                  <a:lnTo>
                    <a:pt x="983" y="4413"/>
                  </a:lnTo>
                  <a:lnTo>
                    <a:pt x="968" y="4400"/>
                  </a:lnTo>
                  <a:lnTo>
                    <a:pt x="955" y="4384"/>
                  </a:lnTo>
                  <a:lnTo>
                    <a:pt x="942" y="4368"/>
                  </a:lnTo>
                  <a:lnTo>
                    <a:pt x="931" y="4351"/>
                  </a:lnTo>
                  <a:lnTo>
                    <a:pt x="922" y="4333"/>
                  </a:lnTo>
                  <a:lnTo>
                    <a:pt x="913" y="4315"/>
                  </a:lnTo>
                  <a:lnTo>
                    <a:pt x="906" y="4295"/>
                  </a:lnTo>
                  <a:lnTo>
                    <a:pt x="899" y="4275"/>
                  </a:lnTo>
                  <a:lnTo>
                    <a:pt x="893" y="4254"/>
                  </a:lnTo>
                  <a:lnTo>
                    <a:pt x="887" y="4233"/>
                  </a:lnTo>
                  <a:lnTo>
                    <a:pt x="879" y="4190"/>
                  </a:lnTo>
                  <a:lnTo>
                    <a:pt x="870" y="4145"/>
                  </a:lnTo>
                  <a:lnTo>
                    <a:pt x="864" y="4099"/>
                  </a:lnTo>
                  <a:lnTo>
                    <a:pt x="856" y="4053"/>
                  </a:lnTo>
                  <a:lnTo>
                    <a:pt x="849" y="4008"/>
                  </a:lnTo>
                  <a:lnTo>
                    <a:pt x="838" y="3964"/>
                  </a:lnTo>
                  <a:lnTo>
                    <a:pt x="832" y="3941"/>
                  </a:lnTo>
                  <a:lnTo>
                    <a:pt x="826" y="3921"/>
                  </a:lnTo>
                  <a:lnTo>
                    <a:pt x="818" y="3899"/>
                  </a:lnTo>
                  <a:lnTo>
                    <a:pt x="811" y="3880"/>
                  </a:lnTo>
                  <a:lnTo>
                    <a:pt x="801" y="3861"/>
                  </a:lnTo>
                  <a:lnTo>
                    <a:pt x="790" y="3841"/>
                  </a:lnTo>
                  <a:lnTo>
                    <a:pt x="780" y="3823"/>
                  </a:lnTo>
                  <a:lnTo>
                    <a:pt x="767" y="3806"/>
                  </a:lnTo>
                  <a:lnTo>
                    <a:pt x="749" y="3785"/>
                  </a:lnTo>
                  <a:lnTo>
                    <a:pt x="729" y="3765"/>
                  </a:lnTo>
                  <a:lnTo>
                    <a:pt x="709" y="3746"/>
                  </a:lnTo>
                  <a:lnTo>
                    <a:pt x="687" y="3727"/>
                  </a:lnTo>
                  <a:lnTo>
                    <a:pt x="665" y="3709"/>
                  </a:lnTo>
                  <a:lnTo>
                    <a:pt x="641" y="3692"/>
                  </a:lnTo>
                  <a:lnTo>
                    <a:pt x="617" y="3676"/>
                  </a:lnTo>
                  <a:lnTo>
                    <a:pt x="593" y="3660"/>
                  </a:lnTo>
                  <a:lnTo>
                    <a:pt x="542" y="3630"/>
                  </a:lnTo>
                  <a:lnTo>
                    <a:pt x="490" y="3599"/>
                  </a:lnTo>
                  <a:lnTo>
                    <a:pt x="438" y="3571"/>
                  </a:lnTo>
                  <a:lnTo>
                    <a:pt x="385" y="3542"/>
                  </a:lnTo>
                  <a:lnTo>
                    <a:pt x="332" y="3513"/>
                  </a:lnTo>
                  <a:lnTo>
                    <a:pt x="283" y="3483"/>
                  </a:lnTo>
                  <a:lnTo>
                    <a:pt x="258" y="3468"/>
                  </a:lnTo>
                  <a:lnTo>
                    <a:pt x="234" y="3452"/>
                  </a:lnTo>
                  <a:lnTo>
                    <a:pt x="212" y="3436"/>
                  </a:lnTo>
                  <a:lnTo>
                    <a:pt x="189" y="3419"/>
                  </a:lnTo>
                  <a:lnTo>
                    <a:pt x="169" y="3400"/>
                  </a:lnTo>
                  <a:lnTo>
                    <a:pt x="148" y="3382"/>
                  </a:lnTo>
                  <a:lnTo>
                    <a:pt x="129" y="3362"/>
                  </a:lnTo>
                  <a:lnTo>
                    <a:pt x="112" y="3342"/>
                  </a:lnTo>
                  <a:lnTo>
                    <a:pt x="96" y="3321"/>
                  </a:lnTo>
                  <a:lnTo>
                    <a:pt x="81" y="3298"/>
                  </a:lnTo>
                  <a:lnTo>
                    <a:pt x="67" y="3275"/>
                  </a:lnTo>
                  <a:lnTo>
                    <a:pt x="55" y="3250"/>
                  </a:lnTo>
                  <a:lnTo>
                    <a:pt x="48" y="3231"/>
                  </a:lnTo>
                  <a:lnTo>
                    <a:pt x="43" y="3211"/>
                  </a:lnTo>
                  <a:lnTo>
                    <a:pt x="40" y="3191"/>
                  </a:lnTo>
                  <a:lnTo>
                    <a:pt x="38" y="3171"/>
                  </a:lnTo>
                  <a:lnTo>
                    <a:pt x="38" y="3152"/>
                  </a:lnTo>
                  <a:lnTo>
                    <a:pt x="40" y="3132"/>
                  </a:lnTo>
                  <a:lnTo>
                    <a:pt x="43" y="3112"/>
                  </a:lnTo>
                  <a:lnTo>
                    <a:pt x="47" y="3092"/>
                  </a:lnTo>
                  <a:lnTo>
                    <a:pt x="53" y="3072"/>
                  </a:lnTo>
                  <a:lnTo>
                    <a:pt x="60" y="3052"/>
                  </a:lnTo>
                  <a:lnTo>
                    <a:pt x="68" y="3032"/>
                  </a:lnTo>
                  <a:lnTo>
                    <a:pt x="76" y="3011"/>
                  </a:lnTo>
                  <a:lnTo>
                    <a:pt x="96" y="2971"/>
                  </a:lnTo>
                  <a:lnTo>
                    <a:pt x="117" y="2931"/>
                  </a:lnTo>
                  <a:lnTo>
                    <a:pt x="140" y="2890"/>
                  </a:lnTo>
                  <a:lnTo>
                    <a:pt x="162" y="2849"/>
                  </a:lnTo>
                  <a:lnTo>
                    <a:pt x="184" y="2807"/>
                  </a:lnTo>
                  <a:lnTo>
                    <a:pt x="203" y="2766"/>
                  </a:lnTo>
                  <a:lnTo>
                    <a:pt x="212" y="2745"/>
                  </a:lnTo>
                  <a:lnTo>
                    <a:pt x="219" y="2724"/>
                  </a:lnTo>
                  <a:lnTo>
                    <a:pt x="227" y="2704"/>
                  </a:lnTo>
                  <a:lnTo>
                    <a:pt x="232" y="2682"/>
                  </a:lnTo>
                  <a:lnTo>
                    <a:pt x="237" y="2662"/>
                  </a:lnTo>
                  <a:lnTo>
                    <a:pt x="240" y="2640"/>
                  </a:lnTo>
                  <a:lnTo>
                    <a:pt x="242" y="2620"/>
                  </a:lnTo>
                  <a:lnTo>
                    <a:pt x="242" y="2598"/>
                  </a:lnTo>
                  <a:lnTo>
                    <a:pt x="241" y="2571"/>
                  </a:lnTo>
                  <a:lnTo>
                    <a:pt x="238" y="2543"/>
                  </a:lnTo>
                  <a:lnTo>
                    <a:pt x="232" y="2517"/>
                  </a:lnTo>
                  <a:lnTo>
                    <a:pt x="227" y="2490"/>
                  </a:lnTo>
                  <a:lnTo>
                    <a:pt x="219" y="2463"/>
                  </a:lnTo>
                  <a:lnTo>
                    <a:pt x="212" y="2436"/>
                  </a:lnTo>
                  <a:lnTo>
                    <a:pt x="202" y="2409"/>
                  </a:lnTo>
                  <a:lnTo>
                    <a:pt x="192" y="2382"/>
                  </a:lnTo>
                  <a:lnTo>
                    <a:pt x="170" y="2329"/>
                  </a:lnTo>
                  <a:lnTo>
                    <a:pt x="146" y="2276"/>
                  </a:lnTo>
                  <a:lnTo>
                    <a:pt x="121" y="2223"/>
                  </a:lnTo>
                  <a:lnTo>
                    <a:pt x="97" y="2170"/>
                  </a:lnTo>
                  <a:lnTo>
                    <a:pt x="72" y="2119"/>
                  </a:lnTo>
                  <a:lnTo>
                    <a:pt x="50" y="2066"/>
                  </a:lnTo>
                  <a:lnTo>
                    <a:pt x="40" y="2039"/>
                  </a:lnTo>
                  <a:lnTo>
                    <a:pt x="31" y="2013"/>
                  </a:lnTo>
                  <a:lnTo>
                    <a:pt x="22" y="1987"/>
                  </a:lnTo>
                  <a:lnTo>
                    <a:pt x="15" y="1961"/>
                  </a:lnTo>
                  <a:lnTo>
                    <a:pt x="10" y="1935"/>
                  </a:lnTo>
                  <a:lnTo>
                    <a:pt x="5" y="1908"/>
                  </a:lnTo>
                  <a:lnTo>
                    <a:pt x="1" y="1882"/>
                  </a:lnTo>
                  <a:lnTo>
                    <a:pt x="0" y="1855"/>
                  </a:lnTo>
                  <a:lnTo>
                    <a:pt x="0" y="1828"/>
                  </a:lnTo>
                  <a:lnTo>
                    <a:pt x="2" y="1802"/>
                  </a:lnTo>
                  <a:lnTo>
                    <a:pt x="5" y="1776"/>
                  </a:lnTo>
                  <a:lnTo>
                    <a:pt x="11" y="1749"/>
                  </a:lnTo>
                  <a:lnTo>
                    <a:pt x="17" y="1729"/>
                  </a:lnTo>
                  <a:lnTo>
                    <a:pt x="25" y="1710"/>
                  </a:lnTo>
                  <a:lnTo>
                    <a:pt x="34" y="1693"/>
                  </a:lnTo>
                  <a:lnTo>
                    <a:pt x="45" y="1676"/>
                  </a:lnTo>
                  <a:lnTo>
                    <a:pt x="57" y="1659"/>
                  </a:lnTo>
                  <a:lnTo>
                    <a:pt x="71" y="1644"/>
                  </a:lnTo>
                  <a:lnTo>
                    <a:pt x="86" y="1630"/>
                  </a:lnTo>
                  <a:lnTo>
                    <a:pt x="102" y="1616"/>
                  </a:lnTo>
                  <a:lnTo>
                    <a:pt x="119" y="1604"/>
                  </a:lnTo>
                  <a:lnTo>
                    <a:pt x="136" y="1592"/>
                  </a:lnTo>
                  <a:lnTo>
                    <a:pt x="156" y="1580"/>
                  </a:lnTo>
                  <a:lnTo>
                    <a:pt x="175" y="1568"/>
                  </a:lnTo>
                  <a:lnTo>
                    <a:pt x="216" y="1547"/>
                  </a:lnTo>
                  <a:lnTo>
                    <a:pt x="258" y="1525"/>
                  </a:lnTo>
                  <a:lnTo>
                    <a:pt x="301" y="1505"/>
                  </a:lnTo>
                  <a:lnTo>
                    <a:pt x="345" y="1484"/>
                  </a:lnTo>
                  <a:lnTo>
                    <a:pt x="388" y="1463"/>
                  </a:lnTo>
                  <a:lnTo>
                    <a:pt x="429" y="1439"/>
                  </a:lnTo>
                  <a:lnTo>
                    <a:pt x="449" y="1427"/>
                  </a:lnTo>
                  <a:lnTo>
                    <a:pt x="468" y="1415"/>
                  </a:lnTo>
                  <a:lnTo>
                    <a:pt x="487" y="1402"/>
                  </a:lnTo>
                  <a:lnTo>
                    <a:pt x="504" y="1388"/>
                  </a:lnTo>
                  <a:lnTo>
                    <a:pt x="520" y="1373"/>
                  </a:lnTo>
                  <a:lnTo>
                    <a:pt x="537" y="1358"/>
                  </a:lnTo>
                  <a:lnTo>
                    <a:pt x="551" y="1342"/>
                  </a:lnTo>
                  <a:lnTo>
                    <a:pt x="564" y="1326"/>
                  </a:lnTo>
                  <a:lnTo>
                    <a:pt x="580" y="1302"/>
                  </a:lnTo>
                  <a:lnTo>
                    <a:pt x="594" y="1279"/>
                  </a:lnTo>
                  <a:lnTo>
                    <a:pt x="607" y="1254"/>
                  </a:lnTo>
                  <a:lnTo>
                    <a:pt x="618" y="1229"/>
                  </a:lnTo>
                  <a:lnTo>
                    <a:pt x="629" y="1203"/>
                  </a:lnTo>
                  <a:lnTo>
                    <a:pt x="640" y="1177"/>
                  </a:lnTo>
                  <a:lnTo>
                    <a:pt x="648" y="1150"/>
                  </a:lnTo>
                  <a:lnTo>
                    <a:pt x="657" y="1123"/>
                  </a:lnTo>
                  <a:lnTo>
                    <a:pt x="672" y="1067"/>
                  </a:lnTo>
                  <a:lnTo>
                    <a:pt x="685" y="1011"/>
                  </a:lnTo>
                  <a:lnTo>
                    <a:pt x="698" y="954"/>
                  </a:lnTo>
                  <a:lnTo>
                    <a:pt x="710" y="898"/>
                  </a:lnTo>
                  <a:lnTo>
                    <a:pt x="723" y="842"/>
                  </a:lnTo>
                  <a:lnTo>
                    <a:pt x="738" y="786"/>
                  </a:lnTo>
                  <a:lnTo>
                    <a:pt x="745" y="759"/>
                  </a:lnTo>
                  <a:lnTo>
                    <a:pt x="754" y="734"/>
                  </a:lnTo>
                  <a:lnTo>
                    <a:pt x="764" y="708"/>
                  </a:lnTo>
                  <a:lnTo>
                    <a:pt x="774" y="682"/>
                  </a:lnTo>
                  <a:lnTo>
                    <a:pt x="786" y="657"/>
                  </a:lnTo>
                  <a:lnTo>
                    <a:pt x="798" y="634"/>
                  </a:lnTo>
                  <a:lnTo>
                    <a:pt x="812" y="610"/>
                  </a:lnTo>
                  <a:lnTo>
                    <a:pt x="827" y="588"/>
                  </a:lnTo>
                  <a:lnTo>
                    <a:pt x="843" y="567"/>
                  </a:lnTo>
                  <a:lnTo>
                    <a:pt x="860" y="546"/>
                  </a:lnTo>
                  <a:lnTo>
                    <a:pt x="880" y="527"/>
                  </a:lnTo>
                  <a:lnTo>
                    <a:pt x="901" y="508"/>
                  </a:lnTo>
                  <a:lnTo>
                    <a:pt x="918" y="496"/>
                  </a:lnTo>
                  <a:lnTo>
                    <a:pt x="937" y="484"/>
                  </a:lnTo>
                  <a:lnTo>
                    <a:pt x="955" y="475"/>
                  </a:lnTo>
                  <a:lnTo>
                    <a:pt x="974" y="468"/>
                  </a:lnTo>
                  <a:lnTo>
                    <a:pt x="994" y="461"/>
                  </a:lnTo>
                  <a:lnTo>
                    <a:pt x="1014" y="457"/>
                  </a:lnTo>
                  <a:lnTo>
                    <a:pt x="1035" y="454"/>
                  </a:lnTo>
                  <a:lnTo>
                    <a:pt x="1056" y="452"/>
                  </a:lnTo>
                  <a:lnTo>
                    <a:pt x="1078" y="451"/>
                  </a:lnTo>
                  <a:lnTo>
                    <a:pt x="1100" y="451"/>
                  </a:lnTo>
                  <a:lnTo>
                    <a:pt x="1123" y="452"/>
                  </a:lnTo>
                  <a:lnTo>
                    <a:pt x="1145" y="453"/>
                  </a:lnTo>
                  <a:lnTo>
                    <a:pt x="1192" y="458"/>
                  </a:lnTo>
                  <a:lnTo>
                    <a:pt x="1239" y="465"/>
                  </a:lnTo>
                  <a:lnTo>
                    <a:pt x="1287" y="472"/>
                  </a:lnTo>
                  <a:lnTo>
                    <a:pt x="1335" y="480"/>
                  </a:lnTo>
                  <a:lnTo>
                    <a:pt x="1383" y="487"/>
                  </a:lnTo>
                  <a:lnTo>
                    <a:pt x="1431" y="492"/>
                  </a:lnTo>
                  <a:lnTo>
                    <a:pt x="1453" y="493"/>
                  </a:lnTo>
                  <a:lnTo>
                    <a:pt x="1477" y="494"/>
                  </a:lnTo>
                  <a:lnTo>
                    <a:pt x="1499" y="494"/>
                  </a:lnTo>
                  <a:lnTo>
                    <a:pt x="1522" y="492"/>
                  </a:lnTo>
                  <a:lnTo>
                    <a:pt x="1545" y="489"/>
                  </a:lnTo>
                  <a:lnTo>
                    <a:pt x="1567" y="486"/>
                  </a:lnTo>
                  <a:lnTo>
                    <a:pt x="1589" y="481"/>
                  </a:lnTo>
                  <a:lnTo>
                    <a:pt x="1609" y="474"/>
                  </a:lnTo>
                  <a:lnTo>
                    <a:pt x="1636" y="465"/>
                  </a:lnTo>
                  <a:lnTo>
                    <a:pt x="1663" y="454"/>
                  </a:lnTo>
                  <a:lnTo>
                    <a:pt x="1688" y="441"/>
                  </a:lnTo>
                  <a:lnTo>
                    <a:pt x="1713" y="427"/>
                  </a:lnTo>
                  <a:lnTo>
                    <a:pt x="1738" y="412"/>
                  </a:lnTo>
                  <a:lnTo>
                    <a:pt x="1762" y="397"/>
                  </a:lnTo>
                  <a:lnTo>
                    <a:pt x="1787" y="380"/>
                  </a:lnTo>
                  <a:lnTo>
                    <a:pt x="1810" y="363"/>
                  </a:lnTo>
                  <a:lnTo>
                    <a:pt x="1856" y="326"/>
                  </a:lnTo>
                  <a:lnTo>
                    <a:pt x="1902" y="287"/>
                  </a:lnTo>
                  <a:lnTo>
                    <a:pt x="1947" y="249"/>
                  </a:lnTo>
                  <a:lnTo>
                    <a:pt x="1991" y="210"/>
                  </a:lnTo>
                  <a:lnTo>
                    <a:pt x="2036" y="172"/>
                  </a:lnTo>
                  <a:lnTo>
                    <a:pt x="2082" y="136"/>
                  </a:lnTo>
                  <a:lnTo>
                    <a:pt x="2105" y="118"/>
                  </a:lnTo>
                  <a:lnTo>
                    <a:pt x="2129" y="101"/>
                  </a:lnTo>
                  <a:lnTo>
                    <a:pt x="2152" y="86"/>
                  </a:lnTo>
                  <a:lnTo>
                    <a:pt x="2176" y="71"/>
                  </a:lnTo>
                  <a:lnTo>
                    <a:pt x="2201" y="57"/>
                  </a:lnTo>
                  <a:lnTo>
                    <a:pt x="2225" y="45"/>
                  </a:lnTo>
                  <a:lnTo>
                    <a:pt x="2251" y="35"/>
                  </a:lnTo>
                  <a:lnTo>
                    <a:pt x="2277" y="24"/>
                  </a:lnTo>
                  <a:lnTo>
                    <a:pt x="2303" y="16"/>
                  </a:lnTo>
                  <a:lnTo>
                    <a:pt x="2330" y="10"/>
                  </a:lnTo>
                  <a:lnTo>
                    <a:pt x="2358" y="4"/>
                  </a:lnTo>
                  <a:lnTo>
                    <a:pt x="2386" y="1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50000">
                  <a:srgbClr val="FFFFFF"/>
                </a:gs>
                <a:gs pos="100000">
                  <a:srgbClr val="C0C0C0"/>
                </a:gs>
              </a:gsLst>
              <a:lin ang="2700000" scaled="1"/>
            </a:gradFill>
            <a:ln w="12700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8"/>
            <p:cNvSpPr>
              <a:spLocks/>
            </p:cNvSpPr>
            <p:nvPr/>
          </p:nvSpPr>
          <p:spPr bwMode="auto">
            <a:xfrm>
              <a:off x="5687312" y="3721105"/>
              <a:ext cx="474663" cy="468313"/>
            </a:xfrm>
            <a:custGeom>
              <a:avLst/>
              <a:gdLst>
                <a:gd name="T0" fmla="*/ 10 w 4503"/>
                <a:gd name="T1" fmla="*/ 0 h 4450"/>
                <a:gd name="T2" fmla="*/ 11 w 4503"/>
                <a:gd name="T3" fmla="*/ 1 h 4450"/>
                <a:gd name="T4" fmla="*/ 12 w 4503"/>
                <a:gd name="T5" fmla="*/ 2 h 4450"/>
                <a:gd name="T6" fmla="*/ 13 w 4503"/>
                <a:gd name="T7" fmla="*/ 2 h 4450"/>
                <a:gd name="T8" fmla="*/ 15 w 4503"/>
                <a:gd name="T9" fmla="*/ 1 h 4450"/>
                <a:gd name="T10" fmla="*/ 16 w 4503"/>
                <a:gd name="T11" fmla="*/ 2 h 4450"/>
                <a:gd name="T12" fmla="*/ 16 w 4503"/>
                <a:gd name="T13" fmla="*/ 2 h 4450"/>
                <a:gd name="T14" fmla="*/ 16 w 4503"/>
                <a:gd name="T15" fmla="*/ 4 h 4450"/>
                <a:gd name="T16" fmla="*/ 17 w 4503"/>
                <a:gd name="T17" fmla="*/ 4 h 4450"/>
                <a:gd name="T18" fmla="*/ 18 w 4503"/>
                <a:gd name="T19" fmla="*/ 5 h 4450"/>
                <a:gd name="T20" fmla="*/ 19 w 4503"/>
                <a:gd name="T21" fmla="*/ 6 h 4450"/>
                <a:gd name="T22" fmla="*/ 20 w 4503"/>
                <a:gd name="T23" fmla="*/ 7 h 4450"/>
                <a:gd name="T24" fmla="*/ 20 w 4503"/>
                <a:gd name="T25" fmla="*/ 7 h 4450"/>
                <a:gd name="T26" fmla="*/ 19 w 4503"/>
                <a:gd name="T27" fmla="*/ 9 h 4450"/>
                <a:gd name="T28" fmla="*/ 19 w 4503"/>
                <a:gd name="T29" fmla="*/ 10 h 4450"/>
                <a:gd name="T30" fmla="*/ 20 w 4503"/>
                <a:gd name="T31" fmla="*/ 11 h 4450"/>
                <a:gd name="T32" fmla="*/ 20 w 4503"/>
                <a:gd name="T33" fmla="*/ 12 h 4450"/>
                <a:gd name="T34" fmla="*/ 20 w 4503"/>
                <a:gd name="T35" fmla="*/ 13 h 4450"/>
                <a:gd name="T36" fmla="*/ 19 w 4503"/>
                <a:gd name="T37" fmla="*/ 13 h 4450"/>
                <a:gd name="T38" fmla="*/ 18 w 4503"/>
                <a:gd name="T39" fmla="*/ 14 h 4450"/>
                <a:gd name="T40" fmla="*/ 17 w 4503"/>
                <a:gd name="T41" fmla="*/ 15 h 4450"/>
                <a:gd name="T42" fmla="*/ 17 w 4503"/>
                <a:gd name="T43" fmla="*/ 17 h 4450"/>
                <a:gd name="T44" fmla="*/ 16 w 4503"/>
                <a:gd name="T45" fmla="*/ 17 h 4450"/>
                <a:gd name="T46" fmla="*/ 16 w 4503"/>
                <a:gd name="T47" fmla="*/ 18 h 4450"/>
                <a:gd name="T48" fmla="*/ 14 w 4503"/>
                <a:gd name="T49" fmla="*/ 18 h 4450"/>
                <a:gd name="T50" fmla="*/ 13 w 4503"/>
                <a:gd name="T51" fmla="*/ 18 h 4450"/>
                <a:gd name="T52" fmla="*/ 13 w 4503"/>
                <a:gd name="T53" fmla="*/ 18 h 4450"/>
                <a:gd name="T54" fmla="*/ 11 w 4503"/>
                <a:gd name="T55" fmla="*/ 19 h 4450"/>
                <a:gd name="T56" fmla="*/ 10 w 4503"/>
                <a:gd name="T57" fmla="*/ 20 h 4450"/>
                <a:gd name="T58" fmla="*/ 9 w 4503"/>
                <a:gd name="T59" fmla="*/ 19 h 4450"/>
                <a:gd name="T60" fmla="*/ 8 w 4503"/>
                <a:gd name="T61" fmla="*/ 18 h 4450"/>
                <a:gd name="T62" fmla="*/ 8 w 4503"/>
                <a:gd name="T63" fmla="*/ 18 h 4450"/>
                <a:gd name="T64" fmla="*/ 6 w 4503"/>
                <a:gd name="T65" fmla="*/ 18 h 4450"/>
                <a:gd name="T66" fmla="*/ 5 w 4503"/>
                <a:gd name="T67" fmla="*/ 18 h 4450"/>
                <a:gd name="T68" fmla="*/ 4 w 4503"/>
                <a:gd name="T69" fmla="*/ 18 h 4450"/>
                <a:gd name="T70" fmla="*/ 4 w 4503"/>
                <a:gd name="T71" fmla="*/ 17 h 4450"/>
                <a:gd name="T72" fmla="*/ 3 w 4503"/>
                <a:gd name="T73" fmla="*/ 16 h 4450"/>
                <a:gd name="T74" fmla="*/ 3 w 4503"/>
                <a:gd name="T75" fmla="*/ 15 h 4450"/>
                <a:gd name="T76" fmla="*/ 2 w 4503"/>
                <a:gd name="T77" fmla="*/ 14 h 4450"/>
                <a:gd name="T78" fmla="*/ 1 w 4503"/>
                <a:gd name="T79" fmla="*/ 14 h 4450"/>
                <a:gd name="T80" fmla="*/ 0 w 4503"/>
                <a:gd name="T81" fmla="*/ 13 h 4450"/>
                <a:gd name="T82" fmla="*/ 0 w 4503"/>
                <a:gd name="T83" fmla="*/ 12 h 4450"/>
                <a:gd name="T84" fmla="*/ 1 w 4503"/>
                <a:gd name="T85" fmla="*/ 11 h 4450"/>
                <a:gd name="T86" fmla="*/ 1 w 4503"/>
                <a:gd name="T87" fmla="*/ 10 h 4450"/>
                <a:gd name="T88" fmla="*/ 0 w 4503"/>
                <a:gd name="T89" fmla="*/ 8 h 4450"/>
                <a:gd name="T90" fmla="*/ 0 w 4503"/>
                <a:gd name="T91" fmla="*/ 7 h 4450"/>
                <a:gd name="T92" fmla="*/ 0 w 4503"/>
                <a:gd name="T93" fmla="*/ 7 h 4450"/>
                <a:gd name="T94" fmla="*/ 1 w 4503"/>
                <a:gd name="T95" fmla="*/ 6 h 4450"/>
                <a:gd name="T96" fmla="*/ 2 w 4503"/>
                <a:gd name="T97" fmla="*/ 6 h 4450"/>
                <a:gd name="T98" fmla="*/ 3 w 4503"/>
                <a:gd name="T99" fmla="*/ 5 h 4450"/>
                <a:gd name="T100" fmla="*/ 3 w 4503"/>
                <a:gd name="T101" fmla="*/ 3 h 4450"/>
                <a:gd name="T102" fmla="*/ 4 w 4503"/>
                <a:gd name="T103" fmla="*/ 2 h 4450"/>
                <a:gd name="T104" fmla="*/ 4 w 4503"/>
                <a:gd name="T105" fmla="*/ 2 h 4450"/>
                <a:gd name="T106" fmla="*/ 6 w 4503"/>
                <a:gd name="T107" fmla="*/ 2 h 4450"/>
                <a:gd name="T108" fmla="*/ 7 w 4503"/>
                <a:gd name="T109" fmla="*/ 2 h 4450"/>
                <a:gd name="T110" fmla="*/ 8 w 4503"/>
                <a:gd name="T111" fmla="*/ 1 h 4450"/>
                <a:gd name="T112" fmla="*/ 9 w 4503"/>
                <a:gd name="T113" fmla="*/ 0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96959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9"/>
            <p:cNvSpPr>
              <a:spLocks/>
            </p:cNvSpPr>
            <p:nvPr/>
          </p:nvSpPr>
          <p:spPr bwMode="auto">
            <a:xfrm>
              <a:off x="5687312" y="3721105"/>
              <a:ext cx="474663" cy="468313"/>
            </a:xfrm>
            <a:custGeom>
              <a:avLst/>
              <a:gdLst>
                <a:gd name="T0" fmla="*/ 10 w 4503"/>
                <a:gd name="T1" fmla="*/ 0 h 4450"/>
                <a:gd name="T2" fmla="*/ 11 w 4503"/>
                <a:gd name="T3" fmla="*/ 1 h 4450"/>
                <a:gd name="T4" fmla="*/ 12 w 4503"/>
                <a:gd name="T5" fmla="*/ 2 h 4450"/>
                <a:gd name="T6" fmla="*/ 13 w 4503"/>
                <a:gd name="T7" fmla="*/ 2 h 4450"/>
                <a:gd name="T8" fmla="*/ 15 w 4503"/>
                <a:gd name="T9" fmla="*/ 1 h 4450"/>
                <a:gd name="T10" fmla="*/ 16 w 4503"/>
                <a:gd name="T11" fmla="*/ 2 h 4450"/>
                <a:gd name="T12" fmla="*/ 16 w 4503"/>
                <a:gd name="T13" fmla="*/ 2 h 4450"/>
                <a:gd name="T14" fmla="*/ 16 w 4503"/>
                <a:gd name="T15" fmla="*/ 4 h 4450"/>
                <a:gd name="T16" fmla="*/ 17 w 4503"/>
                <a:gd name="T17" fmla="*/ 4 h 4450"/>
                <a:gd name="T18" fmla="*/ 18 w 4503"/>
                <a:gd name="T19" fmla="*/ 5 h 4450"/>
                <a:gd name="T20" fmla="*/ 19 w 4503"/>
                <a:gd name="T21" fmla="*/ 6 h 4450"/>
                <a:gd name="T22" fmla="*/ 20 w 4503"/>
                <a:gd name="T23" fmla="*/ 7 h 4450"/>
                <a:gd name="T24" fmla="*/ 20 w 4503"/>
                <a:gd name="T25" fmla="*/ 7 h 4450"/>
                <a:gd name="T26" fmla="*/ 19 w 4503"/>
                <a:gd name="T27" fmla="*/ 9 h 4450"/>
                <a:gd name="T28" fmla="*/ 19 w 4503"/>
                <a:gd name="T29" fmla="*/ 10 h 4450"/>
                <a:gd name="T30" fmla="*/ 20 w 4503"/>
                <a:gd name="T31" fmla="*/ 11 h 4450"/>
                <a:gd name="T32" fmla="*/ 20 w 4503"/>
                <a:gd name="T33" fmla="*/ 12 h 4450"/>
                <a:gd name="T34" fmla="*/ 20 w 4503"/>
                <a:gd name="T35" fmla="*/ 13 h 4450"/>
                <a:gd name="T36" fmla="*/ 19 w 4503"/>
                <a:gd name="T37" fmla="*/ 13 h 4450"/>
                <a:gd name="T38" fmla="*/ 18 w 4503"/>
                <a:gd name="T39" fmla="*/ 14 h 4450"/>
                <a:gd name="T40" fmla="*/ 17 w 4503"/>
                <a:gd name="T41" fmla="*/ 15 h 4450"/>
                <a:gd name="T42" fmla="*/ 17 w 4503"/>
                <a:gd name="T43" fmla="*/ 17 h 4450"/>
                <a:gd name="T44" fmla="*/ 16 w 4503"/>
                <a:gd name="T45" fmla="*/ 17 h 4450"/>
                <a:gd name="T46" fmla="*/ 16 w 4503"/>
                <a:gd name="T47" fmla="*/ 18 h 4450"/>
                <a:gd name="T48" fmla="*/ 14 w 4503"/>
                <a:gd name="T49" fmla="*/ 18 h 4450"/>
                <a:gd name="T50" fmla="*/ 13 w 4503"/>
                <a:gd name="T51" fmla="*/ 18 h 4450"/>
                <a:gd name="T52" fmla="*/ 13 w 4503"/>
                <a:gd name="T53" fmla="*/ 18 h 4450"/>
                <a:gd name="T54" fmla="*/ 11 w 4503"/>
                <a:gd name="T55" fmla="*/ 19 h 4450"/>
                <a:gd name="T56" fmla="*/ 10 w 4503"/>
                <a:gd name="T57" fmla="*/ 20 h 4450"/>
                <a:gd name="T58" fmla="*/ 9 w 4503"/>
                <a:gd name="T59" fmla="*/ 19 h 4450"/>
                <a:gd name="T60" fmla="*/ 8 w 4503"/>
                <a:gd name="T61" fmla="*/ 18 h 4450"/>
                <a:gd name="T62" fmla="*/ 8 w 4503"/>
                <a:gd name="T63" fmla="*/ 18 h 4450"/>
                <a:gd name="T64" fmla="*/ 6 w 4503"/>
                <a:gd name="T65" fmla="*/ 18 h 4450"/>
                <a:gd name="T66" fmla="*/ 5 w 4503"/>
                <a:gd name="T67" fmla="*/ 18 h 4450"/>
                <a:gd name="T68" fmla="*/ 4 w 4503"/>
                <a:gd name="T69" fmla="*/ 18 h 4450"/>
                <a:gd name="T70" fmla="*/ 4 w 4503"/>
                <a:gd name="T71" fmla="*/ 17 h 4450"/>
                <a:gd name="T72" fmla="*/ 3 w 4503"/>
                <a:gd name="T73" fmla="*/ 16 h 4450"/>
                <a:gd name="T74" fmla="*/ 3 w 4503"/>
                <a:gd name="T75" fmla="*/ 15 h 4450"/>
                <a:gd name="T76" fmla="*/ 2 w 4503"/>
                <a:gd name="T77" fmla="*/ 14 h 4450"/>
                <a:gd name="T78" fmla="*/ 1 w 4503"/>
                <a:gd name="T79" fmla="*/ 14 h 4450"/>
                <a:gd name="T80" fmla="*/ 0 w 4503"/>
                <a:gd name="T81" fmla="*/ 13 h 4450"/>
                <a:gd name="T82" fmla="*/ 0 w 4503"/>
                <a:gd name="T83" fmla="*/ 12 h 4450"/>
                <a:gd name="T84" fmla="*/ 1 w 4503"/>
                <a:gd name="T85" fmla="*/ 11 h 4450"/>
                <a:gd name="T86" fmla="*/ 1 w 4503"/>
                <a:gd name="T87" fmla="*/ 10 h 4450"/>
                <a:gd name="T88" fmla="*/ 0 w 4503"/>
                <a:gd name="T89" fmla="*/ 8 h 4450"/>
                <a:gd name="T90" fmla="*/ 0 w 4503"/>
                <a:gd name="T91" fmla="*/ 7 h 4450"/>
                <a:gd name="T92" fmla="*/ 0 w 4503"/>
                <a:gd name="T93" fmla="*/ 7 h 4450"/>
                <a:gd name="T94" fmla="*/ 1 w 4503"/>
                <a:gd name="T95" fmla="*/ 6 h 4450"/>
                <a:gd name="T96" fmla="*/ 2 w 4503"/>
                <a:gd name="T97" fmla="*/ 6 h 4450"/>
                <a:gd name="T98" fmla="*/ 3 w 4503"/>
                <a:gd name="T99" fmla="*/ 5 h 4450"/>
                <a:gd name="T100" fmla="*/ 3 w 4503"/>
                <a:gd name="T101" fmla="*/ 3 h 4450"/>
                <a:gd name="T102" fmla="*/ 4 w 4503"/>
                <a:gd name="T103" fmla="*/ 2 h 4450"/>
                <a:gd name="T104" fmla="*/ 4 w 4503"/>
                <a:gd name="T105" fmla="*/ 2 h 4450"/>
                <a:gd name="T106" fmla="*/ 6 w 4503"/>
                <a:gd name="T107" fmla="*/ 2 h 4450"/>
                <a:gd name="T108" fmla="*/ 7 w 4503"/>
                <a:gd name="T109" fmla="*/ 2 h 4450"/>
                <a:gd name="T110" fmla="*/ 8 w 4503"/>
                <a:gd name="T111" fmla="*/ 1 h 4450"/>
                <a:gd name="T112" fmla="*/ 9 w 4503"/>
                <a:gd name="T113" fmla="*/ 0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C0C0C0"/>
            </a:solidFill>
            <a:ln w="63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72"/>
            <p:cNvSpPr>
              <a:spLocks/>
            </p:cNvSpPr>
            <p:nvPr/>
          </p:nvSpPr>
          <p:spPr bwMode="auto">
            <a:xfrm>
              <a:off x="5698425" y="3732218"/>
              <a:ext cx="452438" cy="446088"/>
            </a:xfrm>
            <a:custGeom>
              <a:avLst/>
              <a:gdLst>
                <a:gd name="T0" fmla="*/ 8 w 4294"/>
                <a:gd name="T1" fmla="*/ 0 h 4240"/>
                <a:gd name="T2" fmla="*/ 7 w 4294"/>
                <a:gd name="T3" fmla="*/ 1 h 4240"/>
                <a:gd name="T4" fmla="*/ 6 w 4294"/>
                <a:gd name="T5" fmla="*/ 2 h 4240"/>
                <a:gd name="T6" fmla="*/ 6 w 4294"/>
                <a:gd name="T7" fmla="*/ 2 h 4240"/>
                <a:gd name="T8" fmla="*/ 4 w 4294"/>
                <a:gd name="T9" fmla="*/ 2 h 4240"/>
                <a:gd name="T10" fmla="*/ 4 w 4294"/>
                <a:gd name="T11" fmla="*/ 2 h 4240"/>
                <a:gd name="T12" fmla="*/ 3 w 4294"/>
                <a:gd name="T13" fmla="*/ 3 h 4240"/>
                <a:gd name="T14" fmla="*/ 3 w 4294"/>
                <a:gd name="T15" fmla="*/ 4 h 4240"/>
                <a:gd name="T16" fmla="*/ 2 w 4294"/>
                <a:gd name="T17" fmla="*/ 5 h 4240"/>
                <a:gd name="T18" fmla="*/ 2 w 4294"/>
                <a:gd name="T19" fmla="*/ 6 h 4240"/>
                <a:gd name="T20" fmla="*/ 0 w 4294"/>
                <a:gd name="T21" fmla="*/ 6 h 4240"/>
                <a:gd name="T22" fmla="*/ 0 w 4294"/>
                <a:gd name="T23" fmla="*/ 7 h 4240"/>
                <a:gd name="T24" fmla="*/ 0 w 4294"/>
                <a:gd name="T25" fmla="*/ 7 h 4240"/>
                <a:gd name="T26" fmla="*/ 1 w 4294"/>
                <a:gd name="T27" fmla="*/ 9 h 4240"/>
                <a:gd name="T28" fmla="*/ 1 w 4294"/>
                <a:gd name="T29" fmla="*/ 10 h 4240"/>
                <a:gd name="T30" fmla="*/ 1 w 4294"/>
                <a:gd name="T31" fmla="*/ 11 h 4240"/>
                <a:gd name="T32" fmla="*/ 0 w 4294"/>
                <a:gd name="T33" fmla="*/ 12 h 4240"/>
                <a:gd name="T34" fmla="*/ 0 w 4294"/>
                <a:gd name="T35" fmla="*/ 12 h 4240"/>
                <a:gd name="T36" fmla="*/ 1 w 4294"/>
                <a:gd name="T37" fmla="*/ 13 h 4240"/>
                <a:gd name="T38" fmla="*/ 2 w 4294"/>
                <a:gd name="T39" fmla="*/ 14 h 4240"/>
                <a:gd name="T40" fmla="*/ 3 w 4294"/>
                <a:gd name="T41" fmla="*/ 14 h 4240"/>
                <a:gd name="T42" fmla="*/ 3 w 4294"/>
                <a:gd name="T43" fmla="*/ 15 h 4240"/>
                <a:gd name="T44" fmla="*/ 4 w 4294"/>
                <a:gd name="T45" fmla="*/ 17 h 4240"/>
                <a:gd name="T46" fmla="*/ 4 w 4294"/>
                <a:gd name="T47" fmla="*/ 17 h 4240"/>
                <a:gd name="T48" fmla="*/ 5 w 4294"/>
                <a:gd name="T49" fmla="*/ 17 h 4240"/>
                <a:gd name="T50" fmla="*/ 6 w 4294"/>
                <a:gd name="T51" fmla="*/ 17 h 4240"/>
                <a:gd name="T52" fmla="*/ 7 w 4294"/>
                <a:gd name="T53" fmla="*/ 17 h 4240"/>
                <a:gd name="T54" fmla="*/ 8 w 4294"/>
                <a:gd name="T55" fmla="*/ 17 h 4240"/>
                <a:gd name="T56" fmla="*/ 9 w 4294"/>
                <a:gd name="T57" fmla="*/ 18 h 4240"/>
                <a:gd name="T58" fmla="*/ 10 w 4294"/>
                <a:gd name="T59" fmla="*/ 19 h 4240"/>
                <a:gd name="T60" fmla="*/ 10 w 4294"/>
                <a:gd name="T61" fmla="*/ 18 h 4240"/>
                <a:gd name="T62" fmla="*/ 11 w 4294"/>
                <a:gd name="T63" fmla="*/ 17 h 4240"/>
                <a:gd name="T64" fmla="*/ 13 w 4294"/>
                <a:gd name="T65" fmla="*/ 17 h 4240"/>
                <a:gd name="T66" fmla="*/ 13 w 4294"/>
                <a:gd name="T67" fmla="*/ 17 h 4240"/>
                <a:gd name="T68" fmla="*/ 15 w 4294"/>
                <a:gd name="T69" fmla="*/ 17 h 4240"/>
                <a:gd name="T70" fmla="*/ 15 w 4294"/>
                <a:gd name="T71" fmla="*/ 17 h 4240"/>
                <a:gd name="T72" fmla="*/ 16 w 4294"/>
                <a:gd name="T73" fmla="*/ 16 h 4240"/>
                <a:gd name="T74" fmla="*/ 16 w 4294"/>
                <a:gd name="T75" fmla="*/ 15 h 4240"/>
                <a:gd name="T76" fmla="*/ 17 w 4294"/>
                <a:gd name="T77" fmla="*/ 14 h 4240"/>
                <a:gd name="T78" fmla="*/ 17 w 4294"/>
                <a:gd name="T79" fmla="*/ 13 h 4240"/>
                <a:gd name="T80" fmla="*/ 18 w 4294"/>
                <a:gd name="T81" fmla="*/ 12 h 4240"/>
                <a:gd name="T82" fmla="*/ 19 w 4294"/>
                <a:gd name="T83" fmla="*/ 12 h 4240"/>
                <a:gd name="T84" fmla="*/ 19 w 4294"/>
                <a:gd name="T85" fmla="*/ 11 h 4240"/>
                <a:gd name="T86" fmla="*/ 18 w 4294"/>
                <a:gd name="T87" fmla="*/ 10 h 4240"/>
                <a:gd name="T88" fmla="*/ 18 w 4294"/>
                <a:gd name="T89" fmla="*/ 9 h 4240"/>
                <a:gd name="T90" fmla="*/ 18 w 4294"/>
                <a:gd name="T91" fmla="*/ 8 h 4240"/>
                <a:gd name="T92" fmla="*/ 19 w 4294"/>
                <a:gd name="T93" fmla="*/ 7 h 4240"/>
                <a:gd name="T94" fmla="*/ 19 w 4294"/>
                <a:gd name="T95" fmla="*/ 6 h 4240"/>
                <a:gd name="T96" fmla="*/ 18 w 4294"/>
                <a:gd name="T97" fmla="*/ 6 h 4240"/>
                <a:gd name="T98" fmla="*/ 17 w 4294"/>
                <a:gd name="T99" fmla="*/ 5 h 4240"/>
                <a:gd name="T100" fmla="*/ 16 w 4294"/>
                <a:gd name="T101" fmla="*/ 4 h 4240"/>
                <a:gd name="T102" fmla="*/ 16 w 4294"/>
                <a:gd name="T103" fmla="*/ 4 h 4240"/>
                <a:gd name="T104" fmla="*/ 15 w 4294"/>
                <a:gd name="T105" fmla="*/ 2 h 4240"/>
                <a:gd name="T106" fmla="*/ 15 w 4294"/>
                <a:gd name="T107" fmla="*/ 2 h 4240"/>
                <a:gd name="T108" fmla="*/ 14 w 4294"/>
                <a:gd name="T109" fmla="*/ 1 h 4240"/>
                <a:gd name="T110" fmla="*/ 13 w 4294"/>
                <a:gd name="T111" fmla="*/ 2 h 4240"/>
                <a:gd name="T112" fmla="*/ 12 w 4294"/>
                <a:gd name="T113" fmla="*/ 2 h 4240"/>
                <a:gd name="T114" fmla="*/ 11 w 4294"/>
                <a:gd name="T115" fmla="*/ 1 h 4240"/>
                <a:gd name="T116" fmla="*/ 10 w 4294"/>
                <a:gd name="T117" fmla="*/ 0 h 4240"/>
                <a:gd name="T118" fmla="*/ 9 w 4294"/>
                <a:gd name="T119" fmla="*/ 0 h 42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94" h="4240">
                  <a:moveTo>
                    <a:pt x="2089" y="0"/>
                  </a:moveTo>
                  <a:lnTo>
                    <a:pt x="2068" y="2"/>
                  </a:lnTo>
                  <a:lnTo>
                    <a:pt x="2048" y="6"/>
                  </a:lnTo>
                  <a:lnTo>
                    <a:pt x="2027" y="12"/>
                  </a:lnTo>
                  <a:lnTo>
                    <a:pt x="2007" y="18"/>
                  </a:lnTo>
                  <a:lnTo>
                    <a:pt x="1989" y="26"/>
                  </a:lnTo>
                  <a:lnTo>
                    <a:pt x="1969" y="35"/>
                  </a:lnTo>
                  <a:lnTo>
                    <a:pt x="1951" y="45"/>
                  </a:lnTo>
                  <a:lnTo>
                    <a:pt x="1933" y="56"/>
                  </a:lnTo>
                  <a:lnTo>
                    <a:pt x="1914" y="68"/>
                  </a:lnTo>
                  <a:lnTo>
                    <a:pt x="1896" y="79"/>
                  </a:lnTo>
                  <a:lnTo>
                    <a:pt x="1878" y="92"/>
                  </a:lnTo>
                  <a:lnTo>
                    <a:pt x="1861" y="105"/>
                  </a:lnTo>
                  <a:lnTo>
                    <a:pt x="1826" y="133"/>
                  </a:lnTo>
                  <a:lnTo>
                    <a:pt x="1793" y="161"/>
                  </a:lnTo>
                  <a:lnTo>
                    <a:pt x="1761" y="190"/>
                  </a:lnTo>
                  <a:lnTo>
                    <a:pt x="1729" y="217"/>
                  </a:lnTo>
                  <a:lnTo>
                    <a:pt x="1692" y="248"/>
                  </a:lnTo>
                  <a:lnTo>
                    <a:pt x="1654" y="279"/>
                  </a:lnTo>
                  <a:lnTo>
                    <a:pt x="1616" y="311"/>
                  </a:lnTo>
                  <a:lnTo>
                    <a:pt x="1577" y="339"/>
                  </a:lnTo>
                  <a:lnTo>
                    <a:pt x="1556" y="353"/>
                  </a:lnTo>
                  <a:lnTo>
                    <a:pt x="1536" y="365"/>
                  </a:lnTo>
                  <a:lnTo>
                    <a:pt x="1515" y="377"/>
                  </a:lnTo>
                  <a:lnTo>
                    <a:pt x="1494" y="389"/>
                  </a:lnTo>
                  <a:lnTo>
                    <a:pt x="1471" y="400"/>
                  </a:lnTo>
                  <a:lnTo>
                    <a:pt x="1450" y="411"/>
                  </a:lnTo>
                  <a:lnTo>
                    <a:pt x="1427" y="420"/>
                  </a:lnTo>
                  <a:lnTo>
                    <a:pt x="1404" y="429"/>
                  </a:lnTo>
                  <a:lnTo>
                    <a:pt x="1384" y="434"/>
                  </a:lnTo>
                  <a:lnTo>
                    <a:pt x="1364" y="440"/>
                  </a:lnTo>
                  <a:lnTo>
                    <a:pt x="1343" y="444"/>
                  </a:lnTo>
                  <a:lnTo>
                    <a:pt x="1323" y="447"/>
                  </a:lnTo>
                  <a:lnTo>
                    <a:pt x="1302" y="449"/>
                  </a:lnTo>
                  <a:lnTo>
                    <a:pt x="1282" y="450"/>
                  </a:lnTo>
                  <a:lnTo>
                    <a:pt x="1262" y="452"/>
                  </a:lnTo>
                  <a:lnTo>
                    <a:pt x="1241" y="452"/>
                  </a:lnTo>
                  <a:lnTo>
                    <a:pt x="1199" y="449"/>
                  </a:lnTo>
                  <a:lnTo>
                    <a:pt x="1158" y="445"/>
                  </a:lnTo>
                  <a:lnTo>
                    <a:pt x="1117" y="440"/>
                  </a:lnTo>
                  <a:lnTo>
                    <a:pt x="1076" y="433"/>
                  </a:lnTo>
                  <a:lnTo>
                    <a:pt x="1045" y="429"/>
                  </a:lnTo>
                  <a:lnTo>
                    <a:pt x="1009" y="422"/>
                  </a:lnTo>
                  <a:lnTo>
                    <a:pt x="969" y="417"/>
                  </a:lnTo>
                  <a:lnTo>
                    <a:pt x="928" y="413"/>
                  </a:lnTo>
                  <a:lnTo>
                    <a:pt x="908" y="412"/>
                  </a:lnTo>
                  <a:lnTo>
                    <a:pt x="887" y="412"/>
                  </a:lnTo>
                  <a:lnTo>
                    <a:pt x="868" y="413"/>
                  </a:lnTo>
                  <a:lnTo>
                    <a:pt x="850" y="416"/>
                  </a:lnTo>
                  <a:lnTo>
                    <a:pt x="832" y="419"/>
                  </a:lnTo>
                  <a:lnTo>
                    <a:pt x="815" y="425"/>
                  </a:lnTo>
                  <a:lnTo>
                    <a:pt x="808" y="428"/>
                  </a:lnTo>
                  <a:lnTo>
                    <a:pt x="800" y="432"/>
                  </a:lnTo>
                  <a:lnTo>
                    <a:pt x="794" y="436"/>
                  </a:lnTo>
                  <a:lnTo>
                    <a:pt x="787" y="441"/>
                  </a:lnTo>
                  <a:lnTo>
                    <a:pt x="771" y="455"/>
                  </a:lnTo>
                  <a:lnTo>
                    <a:pt x="757" y="471"/>
                  </a:lnTo>
                  <a:lnTo>
                    <a:pt x="743" y="487"/>
                  </a:lnTo>
                  <a:lnTo>
                    <a:pt x="731" y="504"/>
                  </a:lnTo>
                  <a:lnTo>
                    <a:pt x="722" y="520"/>
                  </a:lnTo>
                  <a:lnTo>
                    <a:pt x="712" y="538"/>
                  </a:lnTo>
                  <a:lnTo>
                    <a:pt x="703" y="556"/>
                  </a:lnTo>
                  <a:lnTo>
                    <a:pt x="696" y="574"/>
                  </a:lnTo>
                  <a:lnTo>
                    <a:pt x="688" y="593"/>
                  </a:lnTo>
                  <a:lnTo>
                    <a:pt x="682" y="613"/>
                  </a:lnTo>
                  <a:lnTo>
                    <a:pt x="675" y="632"/>
                  </a:lnTo>
                  <a:lnTo>
                    <a:pt x="669" y="653"/>
                  </a:lnTo>
                  <a:lnTo>
                    <a:pt x="659" y="693"/>
                  </a:lnTo>
                  <a:lnTo>
                    <a:pt x="649" y="733"/>
                  </a:lnTo>
                  <a:lnTo>
                    <a:pt x="641" y="773"/>
                  </a:lnTo>
                  <a:lnTo>
                    <a:pt x="632" y="811"/>
                  </a:lnTo>
                  <a:lnTo>
                    <a:pt x="623" y="858"/>
                  </a:lnTo>
                  <a:lnTo>
                    <a:pt x="611" y="905"/>
                  </a:lnTo>
                  <a:lnTo>
                    <a:pt x="598" y="952"/>
                  </a:lnTo>
                  <a:lnTo>
                    <a:pt x="584" y="998"/>
                  </a:lnTo>
                  <a:lnTo>
                    <a:pt x="575" y="1020"/>
                  </a:lnTo>
                  <a:lnTo>
                    <a:pt x="567" y="1043"/>
                  </a:lnTo>
                  <a:lnTo>
                    <a:pt x="557" y="1064"/>
                  </a:lnTo>
                  <a:lnTo>
                    <a:pt x="547" y="1086"/>
                  </a:lnTo>
                  <a:lnTo>
                    <a:pt x="536" y="1107"/>
                  </a:lnTo>
                  <a:lnTo>
                    <a:pt x="525" y="1129"/>
                  </a:lnTo>
                  <a:lnTo>
                    <a:pt x="512" y="1149"/>
                  </a:lnTo>
                  <a:lnTo>
                    <a:pt x="498" y="1170"/>
                  </a:lnTo>
                  <a:lnTo>
                    <a:pt x="485" y="1186"/>
                  </a:lnTo>
                  <a:lnTo>
                    <a:pt x="471" y="1202"/>
                  </a:lnTo>
                  <a:lnTo>
                    <a:pt x="457" y="1217"/>
                  </a:lnTo>
                  <a:lnTo>
                    <a:pt x="442" y="1231"/>
                  </a:lnTo>
                  <a:lnTo>
                    <a:pt x="427" y="1245"/>
                  </a:lnTo>
                  <a:lnTo>
                    <a:pt x="411" y="1257"/>
                  </a:lnTo>
                  <a:lnTo>
                    <a:pt x="395" y="1270"/>
                  </a:lnTo>
                  <a:lnTo>
                    <a:pt x="377" y="1282"/>
                  </a:lnTo>
                  <a:lnTo>
                    <a:pt x="342" y="1303"/>
                  </a:lnTo>
                  <a:lnTo>
                    <a:pt x="305" y="1324"/>
                  </a:lnTo>
                  <a:lnTo>
                    <a:pt x="269" y="1342"/>
                  </a:lnTo>
                  <a:lnTo>
                    <a:pt x="232" y="1360"/>
                  </a:lnTo>
                  <a:lnTo>
                    <a:pt x="204" y="1372"/>
                  </a:lnTo>
                  <a:lnTo>
                    <a:pt x="173" y="1387"/>
                  </a:lnTo>
                  <a:lnTo>
                    <a:pt x="137" y="1404"/>
                  </a:lnTo>
                  <a:lnTo>
                    <a:pt x="103" y="1424"/>
                  </a:lnTo>
                  <a:lnTo>
                    <a:pt x="86" y="1434"/>
                  </a:lnTo>
                  <a:lnTo>
                    <a:pt x="70" y="1445"/>
                  </a:lnTo>
                  <a:lnTo>
                    <a:pt x="55" y="1457"/>
                  </a:lnTo>
                  <a:lnTo>
                    <a:pt x="42" y="1469"/>
                  </a:lnTo>
                  <a:lnTo>
                    <a:pt x="30" y="1482"/>
                  </a:lnTo>
                  <a:lnTo>
                    <a:pt x="20" y="1495"/>
                  </a:lnTo>
                  <a:lnTo>
                    <a:pt x="16" y="1501"/>
                  </a:lnTo>
                  <a:lnTo>
                    <a:pt x="13" y="1508"/>
                  </a:lnTo>
                  <a:lnTo>
                    <a:pt x="9" y="1515"/>
                  </a:lnTo>
                  <a:lnTo>
                    <a:pt x="7" y="1522"/>
                  </a:lnTo>
                  <a:lnTo>
                    <a:pt x="4" y="1539"/>
                  </a:lnTo>
                  <a:lnTo>
                    <a:pt x="2" y="1555"/>
                  </a:lnTo>
                  <a:lnTo>
                    <a:pt x="0" y="1572"/>
                  </a:lnTo>
                  <a:lnTo>
                    <a:pt x="0" y="1589"/>
                  </a:lnTo>
                  <a:lnTo>
                    <a:pt x="2" y="1609"/>
                  </a:lnTo>
                  <a:lnTo>
                    <a:pt x="4" y="1628"/>
                  </a:lnTo>
                  <a:lnTo>
                    <a:pt x="7" y="1648"/>
                  </a:lnTo>
                  <a:lnTo>
                    <a:pt x="13" y="1668"/>
                  </a:lnTo>
                  <a:lnTo>
                    <a:pt x="18" y="1688"/>
                  </a:lnTo>
                  <a:lnTo>
                    <a:pt x="24" y="1709"/>
                  </a:lnTo>
                  <a:lnTo>
                    <a:pt x="32" y="1729"/>
                  </a:lnTo>
                  <a:lnTo>
                    <a:pt x="40" y="1749"/>
                  </a:lnTo>
                  <a:lnTo>
                    <a:pt x="57" y="1789"/>
                  </a:lnTo>
                  <a:lnTo>
                    <a:pt x="74" y="1829"/>
                  </a:lnTo>
                  <a:lnTo>
                    <a:pt x="92" y="1867"/>
                  </a:lnTo>
                  <a:lnTo>
                    <a:pt x="109" y="1902"/>
                  </a:lnTo>
                  <a:lnTo>
                    <a:pt x="130" y="1945"/>
                  </a:lnTo>
                  <a:lnTo>
                    <a:pt x="149" y="1990"/>
                  </a:lnTo>
                  <a:lnTo>
                    <a:pt x="169" y="2036"/>
                  </a:lnTo>
                  <a:lnTo>
                    <a:pt x="185" y="2081"/>
                  </a:lnTo>
                  <a:lnTo>
                    <a:pt x="192" y="2104"/>
                  </a:lnTo>
                  <a:lnTo>
                    <a:pt x="200" y="2127"/>
                  </a:lnTo>
                  <a:lnTo>
                    <a:pt x="205" y="2151"/>
                  </a:lnTo>
                  <a:lnTo>
                    <a:pt x="211" y="2174"/>
                  </a:lnTo>
                  <a:lnTo>
                    <a:pt x="215" y="2198"/>
                  </a:lnTo>
                  <a:lnTo>
                    <a:pt x="218" y="2222"/>
                  </a:lnTo>
                  <a:lnTo>
                    <a:pt x="221" y="2246"/>
                  </a:lnTo>
                  <a:lnTo>
                    <a:pt x="222" y="2271"/>
                  </a:lnTo>
                  <a:lnTo>
                    <a:pt x="222" y="2291"/>
                  </a:lnTo>
                  <a:lnTo>
                    <a:pt x="221" y="2312"/>
                  </a:lnTo>
                  <a:lnTo>
                    <a:pt x="219" y="2332"/>
                  </a:lnTo>
                  <a:lnTo>
                    <a:pt x="216" y="2353"/>
                  </a:lnTo>
                  <a:lnTo>
                    <a:pt x="212" y="2372"/>
                  </a:lnTo>
                  <a:lnTo>
                    <a:pt x="206" y="2391"/>
                  </a:lnTo>
                  <a:lnTo>
                    <a:pt x="200" y="2411"/>
                  </a:lnTo>
                  <a:lnTo>
                    <a:pt x="193" y="2430"/>
                  </a:lnTo>
                  <a:lnTo>
                    <a:pt x="178" y="2468"/>
                  </a:lnTo>
                  <a:lnTo>
                    <a:pt x="161" y="2505"/>
                  </a:lnTo>
                  <a:lnTo>
                    <a:pt x="143" y="2542"/>
                  </a:lnTo>
                  <a:lnTo>
                    <a:pt x="123" y="2578"/>
                  </a:lnTo>
                  <a:lnTo>
                    <a:pt x="109" y="2602"/>
                  </a:lnTo>
                  <a:lnTo>
                    <a:pt x="92" y="2632"/>
                  </a:lnTo>
                  <a:lnTo>
                    <a:pt x="75" y="2665"/>
                  </a:lnTo>
                  <a:lnTo>
                    <a:pt x="59" y="2699"/>
                  </a:lnTo>
                  <a:lnTo>
                    <a:pt x="52" y="2717"/>
                  </a:lnTo>
                  <a:lnTo>
                    <a:pt x="46" y="2735"/>
                  </a:lnTo>
                  <a:lnTo>
                    <a:pt x="41" y="2752"/>
                  </a:lnTo>
                  <a:lnTo>
                    <a:pt x="37" y="2769"/>
                  </a:lnTo>
                  <a:lnTo>
                    <a:pt x="35" y="2785"/>
                  </a:lnTo>
                  <a:lnTo>
                    <a:pt x="36" y="2800"/>
                  </a:lnTo>
                  <a:lnTo>
                    <a:pt x="36" y="2808"/>
                  </a:lnTo>
                  <a:lnTo>
                    <a:pt x="38" y="2815"/>
                  </a:lnTo>
                  <a:lnTo>
                    <a:pt x="40" y="2823"/>
                  </a:lnTo>
                  <a:lnTo>
                    <a:pt x="43" y="2829"/>
                  </a:lnTo>
                  <a:lnTo>
                    <a:pt x="48" y="2842"/>
                  </a:lnTo>
                  <a:lnTo>
                    <a:pt x="56" y="2854"/>
                  </a:lnTo>
                  <a:lnTo>
                    <a:pt x="62" y="2867"/>
                  </a:lnTo>
                  <a:lnTo>
                    <a:pt x="71" y="2878"/>
                  </a:lnTo>
                  <a:lnTo>
                    <a:pt x="84" y="2894"/>
                  </a:lnTo>
                  <a:lnTo>
                    <a:pt x="98" y="2910"/>
                  </a:lnTo>
                  <a:lnTo>
                    <a:pt x="114" y="2925"/>
                  </a:lnTo>
                  <a:lnTo>
                    <a:pt x="130" y="2940"/>
                  </a:lnTo>
                  <a:lnTo>
                    <a:pt x="148" y="2954"/>
                  </a:lnTo>
                  <a:lnTo>
                    <a:pt x="166" y="2968"/>
                  </a:lnTo>
                  <a:lnTo>
                    <a:pt x="186" y="2981"/>
                  </a:lnTo>
                  <a:lnTo>
                    <a:pt x="205" y="2994"/>
                  </a:lnTo>
                  <a:lnTo>
                    <a:pt x="245" y="3017"/>
                  </a:lnTo>
                  <a:lnTo>
                    <a:pt x="286" y="3041"/>
                  </a:lnTo>
                  <a:lnTo>
                    <a:pt x="325" y="3061"/>
                  </a:lnTo>
                  <a:lnTo>
                    <a:pt x="362" y="3082"/>
                  </a:lnTo>
                  <a:lnTo>
                    <a:pt x="405" y="3106"/>
                  </a:lnTo>
                  <a:lnTo>
                    <a:pt x="448" y="3130"/>
                  </a:lnTo>
                  <a:lnTo>
                    <a:pt x="491" y="3155"/>
                  </a:lnTo>
                  <a:lnTo>
                    <a:pt x="532" y="3183"/>
                  </a:lnTo>
                  <a:lnTo>
                    <a:pt x="553" y="3197"/>
                  </a:lnTo>
                  <a:lnTo>
                    <a:pt x="572" y="3212"/>
                  </a:lnTo>
                  <a:lnTo>
                    <a:pt x="591" y="3227"/>
                  </a:lnTo>
                  <a:lnTo>
                    <a:pt x="611" y="3243"/>
                  </a:lnTo>
                  <a:lnTo>
                    <a:pt x="629" y="3260"/>
                  </a:lnTo>
                  <a:lnTo>
                    <a:pt x="646" y="3278"/>
                  </a:lnTo>
                  <a:lnTo>
                    <a:pt x="663" y="3296"/>
                  </a:lnTo>
                  <a:lnTo>
                    <a:pt x="680" y="3314"/>
                  </a:lnTo>
                  <a:lnTo>
                    <a:pt x="691" y="3331"/>
                  </a:lnTo>
                  <a:lnTo>
                    <a:pt x="703" y="3348"/>
                  </a:lnTo>
                  <a:lnTo>
                    <a:pt x="714" y="3366"/>
                  </a:lnTo>
                  <a:lnTo>
                    <a:pt x="724" y="3383"/>
                  </a:lnTo>
                  <a:lnTo>
                    <a:pt x="732" y="3401"/>
                  </a:lnTo>
                  <a:lnTo>
                    <a:pt x="740" y="3420"/>
                  </a:lnTo>
                  <a:lnTo>
                    <a:pt x="747" y="3438"/>
                  </a:lnTo>
                  <a:lnTo>
                    <a:pt x="754" y="3457"/>
                  </a:lnTo>
                  <a:lnTo>
                    <a:pt x="765" y="3496"/>
                  </a:lnTo>
                  <a:lnTo>
                    <a:pt x="773" y="3536"/>
                  </a:lnTo>
                  <a:lnTo>
                    <a:pt x="781" y="3575"/>
                  </a:lnTo>
                  <a:lnTo>
                    <a:pt x="787" y="3615"/>
                  </a:lnTo>
                  <a:lnTo>
                    <a:pt x="791" y="3645"/>
                  </a:lnTo>
                  <a:lnTo>
                    <a:pt x="797" y="3680"/>
                  </a:lnTo>
                  <a:lnTo>
                    <a:pt x="803" y="3716"/>
                  </a:lnTo>
                  <a:lnTo>
                    <a:pt x="812" y="3753"/>
                  </a:lnTo>
                  <a:lnTo>
                    <a:pt x="816" y="3771"/>
                  </a:lnTo>
                  <a:lnTo>
                    <a:pt x="823" y="3788"/>
                  </a:lnTo>
                  <a:lnTo>
                    <a:pt x="829" y="3806"/>
                  </a:lnTo>
                  <a:lnTo>
                    <a:pt x="838" y="3822"/>
                  </a:lnTo>
                  <a:lnTo>
                    <a:pt x="846" y="3836"/>
                  </a:lnTo>
                  <a:lnTo>
                    <a:pt x="856" y="3849"/>
                  </a:lnTo>
                  <a:lnTo>
                    <a:pt x="861" y="3854"/>
                  </a:lnTo>
                  <a:lnTo>
                    <a:pt x="868" y="3859"/>
                  </a:lnTo>
                  <a:lnTo>
                    <a:pt x="874" y="3864"/>
                  </a:lnTo>
                  <a:lnTo>
                    <a:pt x="881" y="3868"/>
                  </a:lnTo>
                  <a:lnTo>
                    <a:pt x="895" y="3876"/>
                  </a:lnTo>
                  <a:lnTo>
                    <a:pt x="909" y="3883"/>
                  </a:lnTo>
                  <a:lnTo>
                    <a:pt x="924" y="3888"/>
                  </a:lnTo>
                  <a:lnTo>
                    <a:pt x="940" y="3894"/>
                  </a:lnTo>
                  <a:lnTo>
                    <a:pt x="960" y="3899"/>
                  </a:lnTo>
                  <a:lnTo>
                    <a:pt x="982" y="3903"/>
                  </a:lnTo>
                  <a:lnTo>
                    <a:pt x="1003" y="3907"/>
                  </a:lnTo>
                  <a:lnTo>
                    <a:pt x="1026" y="3910"/>
                  </a:lnTo>
                  <a:lnTo>
                    <a:pt x="1050" y="3911"/>
                  </a:lnTo>
                  <a:lnTo>
                    <a:pt x="1072" y="3912"/>
                  </a:lnTo>
                  <a:lnTo>
                    <a:pt x="1096" y="3912"/>
                  </a:lnTo>
                  <a:lnTo>
                    <a:pt x="1120" y="3911"/>
                  </a:lnTo>
                  <a:lnTo>
                    <a:pt x="1167" y="3908"/>
                  </a:lnTo>
                  <a:lnTo>
                    <a:pt x="1214" y="3903"/>
                  </a:lnTo>
                  <a:lnTo>
                    <a:pt x="1259" y="3899"/>
                  </a:lnTo>
                  <a:lnTo>
                    <a:pt x="1302" y="3894"/>
                  </a:lnTo>
                  <a:lnTo>
                    <a:pt x="1352" y="3888"/>
                  </a:lnTo>
                  <a:lnTo>
                    <a:pt x="1401" y="3884"/>
                  </a:lnTo>
                  <a:lnTo>
                    <a:pt x="1451" y="3882"/>
                  </a:lnTo>
                  <a:lnTo>
                    <a:pt x="1501" y="3881"/>
                  </a:lnTo>
                  <a:lnTo>
                    <a:pt x="1526" y="3881"/>
                  </a:lnTo>
                  <a:lnTo>
                    <a:pt x="1551" y="3882"/>
                  </a:lnTo>
                  <a:lnTo>
                    <a:pt x="1576" y="3883"/>
                  </a:lnTo>
                  <a:lnTo>
                    <a:pt x="1600" y="3886"/>
                  </a:lnTo>
                  <a:lnTo>
                    <a:pt x="1625" y="3889"/>
                  </a:lnTo>
                  <a:lnTo>
                    <a:pt x="1649" y="3893"/>
                  </a:lnTo>
                  <a:lnTo>
                    <a:pt x="1673" y="3898"/>
                  </a:lnTo>
                  <a:lnTo>
                    <a:pt x="1698" y="3905"/>
                  </a:lnTo>
                  <a:lnTo>
                    <a:pt x="1718" y="3911"/>
                  </a:lnTo>
                  <a:lnTo>
                    <a:pt x="1737" y="3917"/>
                  </a:lnTo>
                  <a:lnTo>
                    <a:pt x="1756" y="3926"/>
                  </a:lnTo>
                  <a:lnTo>
                    <a:pt x="1775" y="3935"/>
                  </a:lnTo>
                  <a:lnTo>
                    <a:pt x="1792" y="3944"/>
                  </a:lnTo>
                  <a:lnTo>
                    <a:pt x="1809" y="3954"/>
                  </a:lnTo>
                  <a:lnTo>
                    <a:pt x="1826" y="3965"/>
                  </a:lnTo>
                  <a:lnTo>
                    <a:pt x="1843" y="3977"/>
                  </a:lnTo>
                  <a:lnTo>
                    <a:pt x="1875" y="4001"/>
                  </a:lnTo>
                  <a:lnTo>
                    <a:pt x="1906" y="4028"/>
                  </a:lnTo>
                  <a:lnTo>
                    <a:pt x="1936" y="4055"/>
                  </a:lnTo>
                  <a:lnTo>
                    <a:pt x="1966" y="4083"/>
                  </a:lnTo>
                  <a:lnTo>
                    <a:pt x="1989" y="4106"/>
                  </a:lnTo>
                  <a:lnTo>
                    <a:pt x="2014" y="4131"/>
                  </a:lnTo>
                  <a:lnTo>
                    <a:pt x="2044" y="4158"/>
                  </a:lnTo>
                  <a:lnTo>
                    <a:pt x="2074" y="4184"/>
                  </a:lnTo>
                  <a:lnTo>
                    <a:pt x="2090" y="4196"/>
                  </a:lnTo>
                  <a:lnTo>
                    <a:pt x="2106" y="4208"/>
                  </a:lnTo>
                  <a:lnTo>
                    <a:pt x="2122" y="4217"/>
                  </a:lnTo>
                  <a:lnTo>
                    <a:pt x="2138" y="4225"/>
                  </a:lnTo>
                  <a:lnTo>
                    <a:pt x="2155" y="4233"/>
                  </a:lnTo>
                  <a:lnTo>
                    <a:pt x="2172" y="4237"/>
                  </a:lnTo>
                  <a:lnTo>
                    <a:pt x="2180" y="4238"/>
                  </a:lnTo>
                  <a:lnTo>
                    <a:pt x="2189" y="4239"/>
                  </a:lnTo>
                  <a:lnTo>
                    <a:pt x="2196" y="4240"/>
                  </a:lnTo>
                  <a:lnTo>
                    <a:pt x="2205" y="4239"/>
                  </a:lnTo>
                  <a:lnTo>
                    <a:pt x="2225" y="4237"/>
                  </a:lnTo>
                  <a:lnTo>
                    <a:pt x="2247" y="4233"/>
                  </a:lnTo>
                  <a:lnTo>
                    <a:pt x="2266" y="4227"/>
                  </a:lnTo>
                  <a:lnTo>
                    <a:pt x="2287" y="4221"/>
                  </a:lnTo>
                  <a:lnTo>
                    <a:pt x="2306" y="4213"/>
                  </a:lnTo>
                  <a:lnTo>
                    <a:pt x="2324" y="4205"/>
                  </a:lnTo>
                  <a:lnTo>
                    <a:pt x="2343" y="4195"/>
                  </a:lnTo>
                  <a:lnTo>
                    <a:pt x="2361" y="4184"/>
                  </a:lnTo>
                  <a:lnTo>
                    <a:pt x="2379" y="4172"/>
                  </a:lnTo>
                  <a:lnTo>
                    <a:pt x="2397" y="4160"/>
                  </a:lnTo>
                  <a:lnTo>
                    <a:pt x="2416" y="4148"/>
                  </a:lnTo>
                  <a:lnTo>
                    <a:pt x="2433" y="4134"/>
                  </a:lnTo>
                  <a:lnTo>
                    <a:pt x="2467" y="4106"/>
                  </a:lnTo>
                  <a:lnTo>
                    <a:pt x="2501" y="4078"/>
                  </a:lnTo>
                  <a:lnTo>
                    <a:pt x="2533" y="4050"/>
                  </a:lnTo>
                  <a:lnTo>
                    <a:pt x="2564" y="4023"/>
                  </a:lnTo>
                  <a:lnTo>
                    <a:pt x="2602" y="3991"/>
                  </a:lnTo>
                  <a:lnTo>
                    <a:pt x="2639" y="3959"/>
                  </a:lnTo>
                  <a:lnTo>
                    <a:pt x="2678" y="3929"/>
                  </a:lnTo>
                  <a:lnTo>
                    <a:pt x="2717" y="3900"/>
                  </a:lnTo>
                  <a:lnTo>
                    <a:pt x="2737" y="3887"/>
                  </a:lnTo>
                  <a:lnTo>
                    <a:pt x="2758" y="3874"/>
                  </a:lnTo>
                  <a:lnTo>
                    <a:pt x="2779" y="3862"/>
                  </a:lnTo>
                  <a:lnTo>
                    <a:pt x="2801" y="3850"/>
                  </a:lnTo>
                  <a:lnTo>
                    <a:pt x="2822" y="3839"/>
                  </a:lnTo>
                  <a:lnTo>
                    <a:pt x="2844" y="3829"/>
                  </a:lnTo>
                  <a:lnTo>
                    <a:pt x="2868" y="3820"/>
                  </a:lnTo>
                  <a:lnTo>
                    <a:pt x="2890" y="3811"/>
                  </a:lnTo>
                  <a:lnTo>
                    <a:pt x="2911" y="3805"/>
                  </a:lnTo>
                  <a:lnTo>
                    <a:pt x="2930" y="3799"/>
                  </a:lnTo>
                  <a:lnTo>
                    <a:pt x="2950" y="3796"/>
                  </a:lnTo>
                  <a:lnTo>
                    <a:pt x="2971" y="3793"/>
                  </a:lnTo>
                  <a:lnTo>
                    <a:pt x="2991" y="3791"/>
                  </a:lnTo>
                  <a:lnTo>
                    <a:pt x="3012" y="3788"/>
                  </a:lnTo>
                  <a:lnTo>
                    <a:pt x="3032" y="3788"/>
                  </a:lnTo>
                  <a:lnTo>
                    <a:pt x="3053" y="3788"/>
                  </a:lnTo>
                  <a:lnTo>
                    <a:pt x="3094" y="3791"/>
                  </a:lnTo>
                  <a:lnTo>
                    <a:pt x="3135" y="3794"/>
                  </a:lnTo>
                  <a:lnTo>
                    <a:pt x="3176" y="3799"/>
                  </a:lnTo>
                  <a:lnTo>
                    <a:pt x="3217" y="3806"/>
                  </a:lnTo>
                  <a:lnTo>
                    <a:pt x="3248" y="3811"/>
                  </a:lnTo>
                  <a:lnTo>
                    <a:pt x="3285" y="3817"/>
                  </a:lnTo>
                  <a:lnTo>
                    <a:pt x="3325" y="3823"/>
                  </a:lnTo>
                  <a:lnTo>
                    <a:pt x="3366" y="3826"/>
                  </a:lnTo>
                  <a:lnTo>
                    <a:pt x="3386" y="3827"/>
                  </a:lnTo>
                  <a:lnTo>
                    <a:pt x="3406" y="3827"/>
                  </a:lnTo>
                  <a:lnTo>
                    <a:pt x="3426" y="3826"/>
                  </a:lnTo>
                  <a:lnTo>
                    <a:pt x="3444" y="3824"/>
                  </a:lnTo>
                  <a:lnTo>
                    <a:pt x="3462" y="3820"/>
                  </a:lnTo>
                  <a:lnTo>
                    <a:pt x="3479" y="3814"/>
                  </a:lnTo>
                  <a:lnTo>
                    <a:pt x="3486" y="3811"/>
                  </a:lnTo>
                  <a:lnTo>
                    <a:pt x="3494" y="3808"/>
                  </a:lnTo>
                  <a:lnTo>
                    <a:pt x="3500" y="3803"/>
                  </a:lnTo>
                  <a:lnTo>
                    <a:pt x="3506" y="3798"/>
                  </a:lnTo>
                  <a:lnTo>
                    <a:pt x="3523" y="3784"/>
                  </a:lnTo>
                  <a:lnTo>
                    <a:pt x="3538" y="3769"/>
                  </a:lnTo>
                  <a:lnTo>
                    <a:pt x="3551" y="3753"/>
                  </a:lnTo>
                  <a:lnTo>
                    <a:pt x="3562" y="3736"/>
                  </a:lnTo>
                  <a:lnTo>
                    <a:pt x="3573" y="3719"/>
                  </a:lnTo>
                  <a:lnTo>
                    <a:pt x="3582" y="3701"/>
                  </a:lnTo>
                  <a:lnTo>
                    <a:pt x="3590" y="3684"/>
                  </a:lnTo>
                  <a:lnTo>
                    <a:pt x="3599" y="3665"/>
                  </a:lnTo>
                  <a:lnTo>
                    <a:pt x="3605" y="3646"/>
                  </a:lnTo>
                  <a:lnTo>
                    <a:pt x="3613" y="3627"/>
                  </a:lnTo>
                  <a:lnTo>
                    <a:pt x="3618" y="3607"/>
                  </a:lnTo>
                  <a:lnTo>
                    <a:pt x="3625" y="3586"/>
                  </a:lnTo>
                  <a:lnTo>
                    <a:pt x="3636" y="3546"/>
                  </a:lnTo>
                  <a:lnTo>
                    <a:pt x="3644" y="3506"/>
                  </a:lnTo>
                  <a:lnTo>
                    <a:pt x="3653" y="3466"/>
                  </a:lnTo>
                  <a:lnTo>
                    <a:pt x="3661" y="3428"/>
                  </a:lnTo>
                  <a:lnTo>
                    <a:pt x="3672" y="3381"/>
                  </a:lnTo>
                  <a:lnTo>
                    <a:pt x="3683" y="3334"/>
                  </a:lnTo>
                  <a:lnTo>
                    <a:pt x="3696" y="3287"/>
                  </a:lnTo>
                  <a:lnTo>
                    <a:pt x="3711" y="3242"/>
                  </a:lnTo>
                  <a:lnTo>
                    <a:pt x="3718" y="3220"/>
                  </a:lnTo>
                  <a:lnTo>
                    <a:pt x="3727" y="3197"/>
                  </a:lnTo>
                  <a:lnTo>
                    <a:pt x="3737" y="3174"/>
                  </a:lnTo>
                  <a:lnTo>
                    <a:pt x="3746" y="3153"/>
                  </a:lnTo>
                  <a:lnTo>
                    <a:pt x="3758" y="3131"/>
                  </a:lnTo>
                  <a:lnTo>
                    <a:pt x="3770" y="3111"/>
                  </a:lnTo>
                  <a:lnTo>
                    <a:pt x="3783" y="3090"/>
                  </a:lnTo>
                  <a:lnTo>
                    <a:pt x="3797" y="3070"/>
                  </a:lnTo>
                  <a:lnTo>
                    <a:pt x="3809" y="3053"/>
                  </a:lnTo>
                  <a:lnTo>
                    <a:pt x="3823" y="3038"/>
                  </a:lnTo>
                  <a:lnTo>
                    <a:pt x="3837" y="3023"/>
                  </a:lnTo>
                  <a:lnTo>
                    <a:pt x="3852" y="3008"/>
                  </a:lnTo>
                  <a:lnTo>
                    <a:pt x="3867" y="2995"/>
                  </a:lnTo>
                  <a:lnTo>
                    <a:pt x="3883" y="2982"/>
                  </a:lnTo>
                  <a:lnTo>
                    <a:pt x="3900" y="2970"/>
                  </a:lnTo>
                  <a:lnTo>
                    <a:pt x="3916" y="2958"/>
                  </a:lnTo>
                  <a:lnTo>
                    <a:pt x="3952" y="2937"/>
                  </a:lnTo>
                  <a:lnTo>
                    <a:pt x="3988" y="2916"/>
                  </a:lnTo>
                  <a:lnTo>
                    <a:pt x="4025" y="2897"/>
                  </a:lnTo>
                  <a:lnTo>
                    <a:pt x="4063" y="2880"/>
                  </a:lnTo>
                  <a:lnTo>
                    <a:pt x="4089" y="2867"/>
                  </a:lnTo>
                  <a:lnTo>
                    <a:pt x="4122" y="2852"/>
                  </a:lnTo>
                  <a:lnTo>
                    <a:pt x="4156" y="2835"/>
                  </a:lnTo>
                  <a:lnTo>
                    <a:pt x="4191" y="2815"/>
                  </a:lnTo>
                  <a:lnTo>
                    <a:pt x="4208" y="2806"/>
                  </a:lnTo>
                  <a:lnTo>
                    <a:pt x="4224" y="2794"/>
                  </a:lnTo>
                  <a:lnTo>
                    <a:pt x="4239" y="2783"/>
                  </a:lnTo>
                  <a:lnTo>
                    <a:pt x="4252" y="2770"/>
                  </a:lnTo>
                  <a:lnTo>
                    <a:pt x="4264" y="2758"/>
                  </a:lnTo>
                  <a:lnTo>
                    <a:pt x="4275" y="2745"/>
                  </a:lnTo>
                  <a:lnTo>
                    <a:pt x="4278" y="2738"/>
                  </a:lnTo>
                  <a:lnTo>
                    <a:pt x="4282" y="2731"/>
                  </a:lnTo>
                  <a:lnTo>
                    <a:pt x="4284" y="2725"/>
                  </a:lnTo>
                  <a:lnTo>
                    <a:pt x="4286" y="2717"/>
                  </a:lnTo>
                  <a:lnTo>
                    <a:pt x="4291" y="2701"/>
                  </a:lnTo>
                  <a:lnTo>
                    <a:pt x="4293" y="2684"/>
                  </a:lnTo>
                  <a:lnTo>
                    <a:pt x="4294" y="2668"/>
                  </a:lnTo>
                  <a:lnTo>
                    <a:pt x="4294" y="2651"/>
                  </a:lnTo>
                  <a:lnTo>
                    <a:pt x="4293" y="2631"/>
                  </a:lnTo>
                  <a:lnTo>
                    <a:pt x="4290" y="2612"/>
                  </a:lnTo>
                  <a:lnTo>
                    <a:pt x="4286" y="2592"/>
                  </a:lnTo>
                  <a:lnTo>
                    <a:pt x="4282" y="2571"/>
                  </a:lnTo>
                  <a:lnTo>
                    <a:pt x="4276" y="2551"/>
                  </a:lnTo>
                  <a:lnTo>
                    <a:pt x="4269" y="2530"/>
                  </a:lnTo>
                  <a:lnTo>
                    <a:pt x="4263" y="2510"/>
                  </a:lnTo>
                  <a:lnTo>
                    <a:pt x="4254" y="2490"/>
                  </a:lnTo>
                  <a:lnTo>
                    <a:pt x="4238" y="2450"/>
                  </a:lnTo>
                  <a:lnTo>
                    <a:pt x="4220" y="2411"/>
                  </a:lnTo>
                  <a:lnTo>
                    <a:pt x="4201" y="2373"/>
                  </a:lnTo>
                  <a:lnTo>
                    <a:pt x="4185" y="2338"/>
                  </a:lnTo>
                  <a:lnTo>
                    <a:pt x="4164" y="2294"/>
                  </a:lnTo>
                  <a:lnTo>
                    <a:pt x="4144" y="2250"/>
                  </a:lnTo>
                  <a:lnTo>
                    <a:pt x="4126" y="2204"/>
                  </a:lnTo>
                  <a:lnTo>
                    <a:pt x="4109" y="2158"/>
                  </a:lnTo>
                  <a:lnTo>
                    <a:pt x="4101" y="2136"/>
                  </a:lnTo>
                  <a:lnTo>
                    <a:pt x="4095" y="2112"/>
                  </a:lnTo>
                  <a:lnTo>
                    <a:pt x="4088" y="2089"/>
                  </a:lnTo>
                  <a:lnTo>
                    <a:pt x="4083" y="2066"/>
                  </a:lnTo>
                  <a:lnTo>
                    <a:pt x="4079" y="2041"/>
                  </a:lnTo>
                  <a:lnTo>
                    <a:pt x="4076" y="2017"/>
                  </a:lnTo>
                  <a:lnTo>
                    <a:pt x="4073" y="1993"/>
                  </a:lnTo>
                  <a:lnTo>
                    <a:pt x="4071" y="1969"/>
                  </a:lnTo>
                  <a:lnTo>
                    <a:pt x="4071" y="1947"/>
                  </a:lnTo>
                  <a:lnTo>
                    <a:pt x="4072" y="1927"/>
                  </a:lnTo>
                  <a:lnTo>
                    <a:pt x="4076" y="1908"/>
                  </a:lnTo>
                  <a:lnTo>
                    <a:pt x="4079" y="1887"/>
                  </a:lnTo>
                  <a:lnTo>
                    <a:pt x="4083" y="1867"/>
                  </a:lnTo>
                  <a:lnTo>
                    <a:pt x="4087" y="1847"/>
                  </a:lnTo>
                  <a:lnTo>
                    <a:pt x="4094" y="1828"/>
                  </a:lnTo>
                  <a:lnTo>
                    <a:pt x="4100" y="1809"/>
                  </a:lnTo>
                  <a:lnTo>
                    <a:pt x="4115" y="1771"/>
                  </a:lnTo>
                  <a:lnTo>
                    <a:pt x="4133" y="1734"/>
                  </a:lnTo>
                  <a:lnTo>
                    <a:pt x="4152" y="1698"/>
                  </a:lnTo>
                  <a:lnTo>
                    <a:pt x="4171" y="1662"/>
                  </a:lnTo>
                  <a:lnTo>
                    <a:pt x="4185" y="1637"/>
                  </a:lnTo>
                  <a:lnTo>
                    <a:pt x="4201" y="1608"/>
                  </a:lnTo>
                  <a:lnTo>
                    <a:pt x="4219" y="1574"/>
                  </a:lnTo>
                  <a:lnTo>
                    <a:pt x="4235" y="1540"/>
                  </a:lnTo>
                  <a:lnTo>
                    <a:pt x="4242" y="1523"/>
                  </a:lnTo>
                  <a:lnTo>
                    <a:pt x="4248" y="1505"/>
                  </a:lnTo>
                  <a:lnTo>
                    <a:pt x="4253" y="1488"/>
                  </a:lnTo>
                  <a:lnTo>
                    <a:pt x="4256" y="1471"/>
                  </a:lnTo>
                  <a:lnTo>
                    <a:pt x="4258" y="1455"/>
                  </a:lnTo>
                  <a:lnTo>
                    <a:pt x="4258" y="1439"/>
                  </a:lnTo>
                  <a:lnTo>
                    <a:pt x="4257" y="1431"/>
                  </a:lnTo>
                  <a:lnTo>
                    <a:pt x="4256" y="1424"/>
                  </a:lnTo>
                  <a:lnTo>
                    <a:pt x="4254" y="1417"/>
                  </a:lnTo>
                  <a:lnTo>
                    <a:pt x="4252" y="1410"/>
                  </a:lnTo>
                  <a:lnTo>
                    <a:pt x="4245" y="1398"/>
                  </a:lnTo>
                  <a:lnTo>
                    <a:pt x="4239" y="1385"/>
                  </a:lnTo>
                  <a:lnTo>
                    <a:pt x="4231" y="1373"/>
                  </a:lnTo>
                  <a:lnTo>
                    <a:pt x="4223" y="1361"/>
                  </a:lnTo>
                  <a:lnTo>
                    <a:pt x="4210" y="1345"/>
                  </a:lnTo>
                  <a:lnTo>
                    <a:pt x="4196" y="1330"/>
                  </a:lnTo>
                  <a:lnTo>
                    <a:pt x="4180" y="1314"/>
                  </a:lnTo>
                  <a:lnTo>
                    <a:pt x="4164" y="1300"/>
                  </a:lnTo>
                  <a:lnTo>
                    <a:pt x="4147" y="1286"/>
                  </a:lnTo>
                  <a:lnTo>
                    <a:pt x="4127" y="1272"/>
                  </a:lnTo>
                  <a:lnTo>
                    <a:pt x="4109" y="1259"/>
                  </a:lnTo>
                  <a:lnTo>
                    <a:pt x="4088" y="1246"/>
                  </a:lnTo>
                  <a:lnTo>
                    <a:pt x="4049" y="1221"/>
                  </a:lnTo>
                  <a:lnTo>
                    <a:pt x="4009" y="1199"/>
                  </a:lnTo>
                  <a:lnTo>
                    <a:pt x="3969" y="1177"/>
                  </a:lnTo>
                  <a:lnTo>
                    <a:pt x="3932" y="1158"/>
                  </a:lnTo>
                  <a:lnTo>
                    <a:pt x="3888" y="1134"/>
                  </a:lnTo>
                  <a:lnTo>
                    <a:pt x="3845" y="1110"/>
                  </a:lnTo>
                  <a:lnTo>
                    <a:pt x="3803" y="1084"/>
                  </a:lnTo>
                  <a:lnTo>
                    <a:pt x="3761" y="1057"/>
                  </a:lnTo>
                  <a:lnTo>
                    <a:pt x="3741" y="1043"/>
                  </a:lnTo>
                  <a:lnTo>
                    <a:pt x="3722" y="1028"/>
                  </a:lnTo>
                  <a:lnTo>
                    <a:pt x="3702" y="1012"/>
                  </a:lnTo>
                  <a:lnTo>
                    <a:pt x="3683" y="996"/>
                  </a:lnTo>
                  <a:lnTo>
                    <a:pt x="3666" y="980"/>
                  </a:lnTo>
                  <a:lnTo>
                    <a:pt x="3647" y="962"/>
                  </a:lnTo>
                  <a:lnTo>
                    <a:pt x="3631" y="944"/>
                  </a:lnTo>
                  <a:lnTo>
                    <a:pt x="3615" y="925"/>
                  </a:lnTo>
                  <a:lnTo>
                    <a:pt x="3602" y="909"/>
                  </a:lnTo>
                  <a:lnTo>
                    <a:pt x="3590" y="891"/>
                  </a:lnTo>
                  <a:lnTo>
                    <a:pt x="3580" y="874"/>
                  </a:lnTo>
                  <a:lnTo>
                    <a:pt x="3571" y="857"/>
                  </a:lnTo>
                  <a:lnTo>
                    <a:pt x="3562" y="839"/>
                  </a:lnTo>
                  <a:lnTo>
                    <a:pt x="3554" y="820"/>
                  </a:lnTo>
                  <a:lnTo>
                    <a:pt x="3547" y="801"/>
                  </a:lnTo>
                  <a:lnTo>
                    <a:pt x="3541" y="782"/>
                  </a:lnTo>
                  <a:lnTo>
                    <a:pt x="3529" y="744"/>
                  </a:lnTo>
                  <a:lnTo>
                    <a:pt x="3520" y="704"/>
                  </a:lnTo>
                  <a:lnTo>
                    <a:pt x="3513" y="664"/>
                  </a:lnTo>
                  <a:lnTo>
                    <a:pt x="3506" y="625"/>
                  </a:lnTo>
                  <a:lnTo>
                    <a:pt x="3502" y="595"/>
                  </a:lnTo>
                  <a:lnTo>
                    <a:pt x="3497" y="560"/>
                  </a:lnTo>
                  <a:lnTo>
                    <a:pt x="3491" y="524"/>
                  </a:lnTo>
                  <a:lnTo>
                    <a:pt x="3483" y="486"/>
                  </a:lnTo>
                  <a:lnTo>
                    <a:pt x="3477" y="468"/>
                  </a:lnTo>
                  <a:lnTo>
                    <a:pt x="3471" y="450"/>
                  </a:lnTo>
                  <a:lnTo>
                    <a:pt x="3465" y="434"/>
                  </a:lnTo>
                  <a:lnTo>
                    <a:pt x="3457" y="418"/>
                  </a:lnTo>
                  <a:lnTo>
                    <a:pt x="3447" y="404"/>
                  </a:lnTo>
                  <a:lnTo>
                    <a:pt x="3438" y="391"/>
                  </a:lnTo>
                  <a:lnTo>
                    <a:pt x="3432" y="386"/>
                  </a:lnTo>
                  <a:lnTo>
                    <a:pt x="3426" y="381"/>
                  </a:lnTo>
                  <a:lnTo>
                    <a:pt x="3420" y="375"/>
                  </a:lnTo>
                  <a:lnTo>
                    <a:pt x="3414" y="371"/>
                  </a:lnTo>
                  <a:lnTo>
                    <a:pt x="3399" y="363"/>
                  </a:lnTo>
                  <a:lnTo>
                    <a:pt x="3385" y="357"/>
                  </a:lnTo>
                  <a:lnTo>
                    <a:pt x="3370" y="350"/>
                  </a:lnTo>
                  <a:lnTo>
                    <a:pt x="3354" y="345"/>
                  </a:lnTo>
                  <a:lnTo>
                    <a:pt x="3333" y="340"/>
                  </a:lnTo>
                  <a:lnTo>
                    <a:pt x="3312" y="335"/>
                  </a:lnTo>
                  <a:lnTo>
                    <a:pt x="3290" y="332"/>
                  </a:lnTo>
                  <a:lnTo>
                    <a:pt x="3268" y="330"/>
                  </a:lnTo>
                  <a:lnTo>
                    <a:pt x="3244" y="329"/>
                  </a:lnTo>
                  <a:lnTo>
                    <a:pt x="3221" y="328"/>
                  </a:lnTo>
                  <a:lnTo>
                    <a:pt x="3198" y="328"/>
                  </a:lnTo>
                  <a:lnTo>
                    <a:pt x="3174" y="329"/>
                  </a:lnTo>
                  <a:lnTo>
                    <a:pt x="3127" y="331"/>
                  </a:lnTo>
                  <a:lnTo>
                    <a:pt x="3079" y="335"/>
                  </a:lnTo>
                  <a:lnTo>
                    <a:pt x="3034" y="341"/>
                  </a:lnTo>
                  <a:lnTo>
                    <a:pt x="2991" y="345"/>
                  </a:lnTo>
                  <a:lnTo>
                    <a:pt x="2942" y="350"/>
                  </a:lnTo>
                  <a:lnTo>
                    <a:pt x="2892" y="355"/>
                  </a:lnTo>
                  <a:lnTo>
                    <a:pt x="2843" y="358"/>
                  </a:lnTo>
                  <a:lnTo>
                    <a:pt x="2793" y="359"/>
                  </a:lnTo>
                  <a:lnTo>
                    <a:pt x="2767" y="359"/>
                  </a:lnTo>
                  <a:lnTo>
                    <a:pt x="2743" y="358"/>
                  </a:lnTo>
                  <a:lnTo>
                    <a:pt x="2718" y="356"/>
                  </a:lnTo>
                  <a:lnTo>
                    <a:pt x="2693" y="354"/>
                  </a:lnTo>
                  <a:lnTo>
                    <a:pt x="2670" y="350"/>
                  </a:lnTo>
                  <a:lnTo>
                    <a:pt x="2645" y="346"/>
                  </a:lnTo>
                  <a:lnTo>
                    <a:pt x="2620" y="341"/>
                  </a:lnTo>
                  <a:lnTo>
                    <a:pt x="2596" y="334"/>
                  </a:lnTo>
                  <a:lnTo>
                    <a:pt x="2576" y="329"/>
                  </a:lnTo>
                  <a:lnTo>
                    <a:pt x="2557" y="321"/>
                  </a:lnTo>
                  <a:lnTo>
                    <a:pt x="2538" y="314"/>
                  </a:lnTo>
                  <a:lnTo>
                    <a:pt x="2520" y="305"/>
                  </a:lnTo>
                  <a:lnTo>
                    <a:pt x="2502" y="296"/>
                  </a:lnTo>
                  <a:lnTo>
                    <a:pt x="2485" y="285"/>
                  </a:lnTo>
                  <a:lnTo>
                    <a:pt x="2467" y="274"/>
                  </a:lnTo>
                  <a:lnTo>
                    <a:pt x="2451" y="262"/>
                  </a:lnTo>
                  <a:lnTo>
                    <a:pt x="2419" y="238"/>
                  </a:lnTo>
                  <a:lnTo>
                    <a:pt x="2388" y="212"/>
                  </a:lnTo>
                  <a:lnTo>
                    <a:pt x="2358" y="184"/>
                  </a:lnTo>
                  <a:lnTo>
                    <a:pt x="2328" y="156"/>
                  </a:lnTo>
                  <a:lnTo>
                    <a:pt x="2305" y="133"/>
                  </a:lnTo>
                  <a:lnTo>
                    <a:pt x="2279" y="107"/>
                  </a:lnTo>
                  <a:lnTo>
                    <a:pt x="2250" y="81"/>
                  </a:lnTo>
                  <a:lnTo>
                    <a:pt x="2220" y="55"/>
                  </a:lnTo>
                  <a:lnTo>
                    <a:pt x="2204" y="43"/>
                  </a:lnTo>
                  <a:lnTo>
                    <a:pt x="2188" y="32"/>
                  </a:lnTo>
                  <a:lnTo>
                    <a:pt x="2172" y="22"/>
                  </a:lnTo>
                  <a:lnTo>
                    <a:pt x="2155" y="14"/>
                  </a:lnTo>
                  <a:lnTo>
                    <a:pt x="2138" y="7"/>
                  </a:lnTo>
                  <a:lnTo>
                    <a:pt x="2122" y="3"/>
                  </a:lnTo>
                  <a:lnTo>
                    <a:pt x="2113" y="1"/>
                  </a:lnTo>
                  <a:lnTo>
                    <a:pt x="2106" y="0"/>
                  </a:lnTo>
                  <a:lnTo>
                    <a:pt x="2097" y="0"/>
                  </a:lnTo>
                  <a:lnTo>
                    <a:pt x="2089" y="0"/>
                  </a:lnTo>
                  <a:close/>
                </a:path>
              </a:pathLst>
            </a:custGeom>
            <a:blipFill dpi="0" rotWithShape="0">
              <a:blip r:embed="rId21" cstate="print">
                <a:lum bright="6000"/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73"/>
            <p:cNvSpPr>
              <a:spLocks noChangeArrowheads="1"/>
            </p:cNvSpPr>
            <p:nvPr/>
          </p:nvSpPr>
          <p:spPr bwMode="auto">
            <a:xfrm>
              <a:off x="5868288" y="3833818"/>
              <a:ext cx="9938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342900" indent="-342900" defTabSz="895350"/>
              <a:r>
                <a:rPr lang="en-GB" sz="1400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5633321" y="2706688"/>
            <a:ext cx="495872" cy="517183"/>
            <a:chOff x="5765319" y="2289175"/>
            <a:chExt cx="563562" cy="776286"/>
          </a:xfrm>
        </p:grpSpPr>
        <p:sp>
          <p:nvSpPr>
            <p:cNvPr id="70" name="Rectangle 53"/>
            <p:cNvSpPr>
              <a:spLocks noChangeArrowheads="1"/>
            </p:cNvSpPr>
            <p:nvPr/>
          </p:nvSpPr>
          <p:spPr bwMode="auto">
            <a:xfrm>
              <a:off x="5971696" y="2420939"/>
              <a:ext cx="9938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342900" indent="-342900" defTabSz="895350"/>
              <a:r>
                <a:rPr lang="en-GB" sz="1400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1" name="Freeform 4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772909" y="2654374"/>
              <a:ext cx="555972" cy="411087"/>
            </a:xfrm>
            <a:custGeom>
              <a:avLst/>
              <a:gdLst>
                <a:gd name="T0" fmla="*/ 414 w 1758"/>
                <a:gd name="T1" fmla="*/ 6 h 1299"/>
                <a:gd name="T2" fmla="*/ 0 w 1758"/>
                <a:gd name="T3" fmla="*/ 1083 h 1299"/>
                <a:gd name="T4" fmla="*/ 435 w 1758"/>
                <a:gd name="T5" fmla="*/ 831 h 1299"/>
                <a:gd name="T6" fmla="*/ 540 w 1758"/>
                <a:gd name="T7" fmla="*/ 1299 h 1299"/>
                <a:gd name="T8" fmla="*/ 837 w 1758"/>
                <a:gd name="T9" fmla="*/ 564 h 1299"/>
                <a:gd name="T10" fmla="*/ 1275 w 1758"/>
                <a:gd name="T11" fmla="*/ 1260 h 1299"/>
                <a:gd name="T12" fmla="*/ 1383 w 1758"/>
                <a:gd name="T13" fmla="*/ 852 h 1299"/>
                <a:gd name="T14" fmla="*/ 1758 w 1758"/>
                <a:gd name="T15" fmla="*/ 945 h 1299"/>
                <a:gd name="T16" fmla="*/ 1299 w 1758"/>
                <a:gd name="T17" fmla="*/ 255 h 1299"/>
                <a:gd name="T18" fmla="*/ 1131 w 1758"/>
                <a:gd name="T19" fmla="*/ 0 h 1299"/>
                <a:gd name="T20" fmla="*/ 858 w 1758"/>
                <a:gd name="T21" fmla="*/ 30 h 1299"/>
                <a:gd name="T22" fmla="*/ 414 w 1758"/>
                <a:gd name="T23" fmla="*/ 6 h 129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58" h="1299">
                  <a:moveTo>
                    <a:pt x="414" y="6"/>
                  </a:moveTo>
                  <a:cubicBezTo>
                    <a:pt x="234" y="627"/>
                    <a:pt x="0" y="1083"/>
                    <a:pt x="0" y="1083"/>
                  </a:cubicBezTo>
                  <a:cubicBezTo>
                    <a:pt x="78" y="1098"/>
                    <a:pt x="435" y="831"/>
                    <a:pt x="435" y="831"/>
                  </a:cubicBezTo>
                  <a:cubicBezTo>
                    <a:pt x="501" y="1065"/>
                    <a:pt x="531" y="1293"/>
                    <a:pt x="540" y="1299"/>
                  </a:cubicBezTo>
                  <a:cubicBezTo>
                    <a:pt x="669" y="1125"/>
                    <a:pt x="837" y="564"/>
                    <a:pt x="837" y="564"/>
                  </a:cubicBezTo>
                  <a:cubicBezTo>
                    <a:pt x="963" y="807"/>
                    <a:pt x="1184" y="1212"/>
                    <a:pt x="1275" y="1260"/>
                  </a:cubicBezTo>
                  <a:lnTo>
                    <a:pt x="1383" y="852"/>
                  </a:lnTo>
                  <a:cubicBezTo>
                    <a:pt x="1383" y="852"/>
                    <a:pt x="1587" y="945"/>
                    <a:pt x="1758" y="945"/>
                  </a:cubicBezTo>
                  <a:cubicBezTo>
                    <a:pt x="1611" y="819"/>
                    <a:pt x="1403" y="412"/>
                    <a:pt x="1299" y="255"/>
                  </a:cubicBezTo>
                  <a:lnTo>
                    <a:pt x="1131" y="0"/>
                  </a:lnTo>
                  <a:lnTo>
                    <a:pt x="858" y="30"/>
                  </a:lnTo>
                  <a:cubicBezTo>
                    <a:pt x="858" y="30"/>
                    <a:pt x="636" y="18"/>
                    <a:pt x="414" y="6"/>
                  </a:cubicBezTo>
                  <a:close/>
                </a:path>
              </a:pathLst>
            </a:custGeom>
            <a:solidFill>
              <a:srgbClr val="928E8C"/>
            </a:solidFill>
            <a:ln w="9525">
              <a:solidFill>
                <a:srgbClr val="928E8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4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765319" y="2289175"/>
              <a:ext cx="518022" cy="512355"/>
            </a:xfrm>
            <a:custGeom>
              <a:avLst/>
              <a:gdLst>
                <a:gd name="T0" fmla="*/ 283 w 4916"/>
                <a:gd name="T1" fmla="*/ 5 h 4859"/>
                <a:gd name="T2" fmla="*/ 310 w 4916"/>
                <a:gd name="T3" fmla="*/ 28 h 4859"/>
                <a:gd name="T4" fmla="*/ 331 w 4916"/>
                <a:gd name="T5" fmla="*/ 41 h 4859"/>
                <a:gd name="T6" fmla="*/ 363 w 4916"/>
                <a:gd name="T7" fmla="*/ 43 h 4859"/>
                <a:gd name="T8" fmla="*/ 409 w 4916"/>
                <a:gd name="T9" fmla="*/ 40 h 4859"/>
                <a:gd name="T10" fmla="*/ 435 w 4916"/>
                <a:gd name="T11" fmla="*/ 48 h 4859"/>
                <a:gd name="T12" fmla="*/ 446 w 4916"/>
                <a:gd name="T13" fmla="*/ 65 h 4859"/>
                <a:gd name="T14" fmla="*/ 453 w 4916"/>
                <a:gd name="T15" fmla="*/ 102 h 4859"/>
                <a:gd name="T16" fmla="*/ 465 w 4916"/>
                <a:gd name="T17" fmla="*/ 122 h 4859"/>
                <a:gd name="T18" fmla="*/ 497 w 4916"/>
                <a:gd name="T19" fmla="*/ 143 h 4859"/>
                <a:gd name="T20" fmla="*/ 529 w 4916"/>
                <a:gd name="T21" fmla="*/ 164 h 4859"/>
                <a:gd name="T22" fmla="*/ 541 w 4916"/>
                <a:gd name="T23" fmla="*/ 185 h 4859"/>
                <a:gd name="T24" fmla="*/ 537 w 4916"/>
                <a:gd name="T25" fmla="*/ 205 h 4859"/>
                <a:gd name="T26" fmla="*/ 521 w 4916"/>
                <a:gd name="T27" fmla="*/ 239 h 4859"/>
                <a:gd name="T28" fmla="*/ 520 w 4916"/>
                <a:gd name="T29" fmla="*/ 263 h 4859"/>
                <a:gd name="T30" fmla="*/ 538 w 4916"/>
                <a:gd name="T31" fmla="*/ 304 h 4859"/>
                <a:gd name="T32" fmla="*/ 546 w 4916"/>
                <a:gd name="T33" fmla="*/ 334 h 4859"/>
                <a:gd name="T34" fmla="*/ 539 w 4916"/>
                <a:gd name="T35" fmla="*/ 355 h 4859"/>
                <a:gd name="T36" fmla="*/ 517 w 4916"/>
                <a:gd name="T37" fmla="*/ 370 h 4859"/>
                <a:gd name="T38" fmla="*/ 488 w 4916"/>
                <a:gd name="T39" fmla="*/ 387 h 4859"/>
                <a:gd name="T40" fmla="*/ 475 w 4916"/>
                <a:gd name="T41" fmla="*/ 409 h 4859"/>
                <a:gd name="T42" fmla="*/ 463 w 4916"/>
                <a:gd name="T43" fmla="*/ 455 h 4859"/>
                <a:gd name="T44" fmla="*/ 450 w 4916"/>
                <a:gd name="T45" fmla="*/ 479 h 4859"/>
                <a:gd name="T46" fmla="*/ 431 w 4916"/>
                <a:gd name="T47" fmla="*/ 489 h 4859"/>
                <a:gd name="T48" fmla="*/ 398 w 4916"/>
                <a:gd name="T49" fmla="*/ 486 h 4859"/>
                <a:gd name="T50" fmla="*/ 370 w 4916"/>
                <a:gd name="T51" fmla="*/ 486 h 4859"/>
                <a:gd name="T52" fmla="*/ 345 w 4916"/>
                <a:gd name="T53" fmla="*/ 499 h 4859"/>
                <a:gd name="T54" fmla="*/ 307 w 4916"/>
                <a:gd name="T55" fmla="*/ 530 h 4859"/>
                <a:gd name="T56" fmla="*/ 281 w 4916"/>
                <a:gd name="T57" fmla="*/ 539 h 4859"/>
                <a:gd name="T58" fmla="*/ 261 w 4916"/>
                <a:gd name="T59" fmla="*/ 533 h 4859"/>
                <a:gd name="T60" fmla="*/ 232 w 4916"/>
                <a:gd name="T61" fmla="*/ 508 h 4859"/>
                <a:gd name="T62" fmla="*/ 212 w 4916"/>
                <a:gd name="T63" fmla="*/ 497 h 4859"/>
                <a:gd name="T64" fmla="*/ 176 w 4916"/>
                <a:gd name="T65" fmla="*/ 497 h 4859"/>
                <a:gd name="T66" fmla="*/ 133 w 4916"/>
                <a:gd name="T67" fmla="*/ 499 h 4859"/>
                <a:gd name="T68" fmla="*/ 109 w 4916"/>
                <a:gd name="T69" fmla="*/ 490 h 4859"/>
                <a:gd name="T70" fmla="*/ 99 w 4916"/>
                <a:gd name="T71" fmla="*/ 472 h 4859"/>
                <a:gd name="T72" fmla="*/ 92 w 4916"/>
                <a:gd name="T73" fmla="*/ 435 h 4859"/>
                <a:gd name="T74" fmla="*/ 79 w 4916"/>
                <a:gd name="T75" fmla="*/ 416 h 4859"/>
                <a:gd name="T76" fmla="*/ 43 w 4916"/>
                <a:gd name="T77" fmla="*/ 393 h 4859"/>
                <a:gd name="T78" fmla="*/ 14 w 4916"/>
                <a:gd name="T79" fmla="*/ 373 h 4859"/>
                <a:gd name="T80" fmla="*/ 4 w 4916"/>
                <a:gd name="T81" fmla="*/ 352 h 4859"/>
                <a:gd name="T82" fmla="*/ 11 w 4916"/>
                <a:gd name="T83" fmla="*/ 330 h 4859"/>
                <a:gd name="T84" fmla="*/ 26 w 4916"/>
                <a:gd name="T85" fmla="*/ 298 h 4859"/>
                <a:gd name="T86" fmla="*/ 24 w 4916"/>
                <a:gd name="T87" fmla="*/ 274 h 4859"/>
                <a:gd name="T88" fmla="*/ 6 w 4916"/>
                <a:gd name="T89" fmla="*/ 229 h 4859"/>
                <a:gd name="T90" fmla="*/ 0 w 4916"/>
                <a:gd name="T91" fmla="*/ 203 h 4859"/>
                <a:gd name="T92" fmla="*/ 8 w 4916"/>
                <a:gd name="T93" fmla="*/ 183 h 4859"/>
                <a:gd name="T94" fmla="*/ 33 w 4916"/>
                <a:gd name="T95" fmla="*/ 167 h 4859"/>
                <a:gd name="T96" fmla="*/ 60 w 4916"/>
                <a:gd name="T97" fmla="*/ 151 h 4859"/>
                <a:gd name="T98" fmla="*/ 72 w 4916"/>
                <a:gd name="T99" fmla="*/ 128 h 4859"/>
                <a:gd name="T100" fmla="*/ 84 w 4916"/>
                <a:gd name="T101" fmla="*/ 82 h 4859"/>
                <a:gd name="T102" fmla="*/ 98 w 4916"/>
                <a:gd name="T103" fmla="*/ 59 h 4859"/>
                <a:gd name="T104" fmla="*/ 117 w 4916"/>
                <a:gd name="T105" fmla="*/ 50 h 4859"/>
                <a:gd name="T106" fmla="*/ 154 w 4916"/>
                <a:gd name="T107" fmla="*/ 54 h 4859"/>
                <a:gd name="T108" fmla="*/ 179 w 4916"/>
                <a:gd name="T109" fmla="*/ 53 h 4859"/>
                <a:gd name="T110" fmla="*/ 206 w 4916"/>
                <a:gd name="T111" fmla="*/ 36 h 4859"/>
                <a:gd name="T112" fmla="*/ 242 w 4916"/>
                <a:gd name="T113" fmla="*/ 8 h 485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916" h="4859">
                  <a:moveTo>
                    <a:pt x="2386" y="1"/>
                  </a:moveTo>
                  <a:lnTo>
                    <a:pt x="2408" y="0"/>
                  </a:lnTo>
                  <a:lnTo>
                    <a:pt x="2429" y="2"/>
                  </a:lnTo>
                  <a:lnTo>
                    <a:pt x="2450" y="4"/>
                  </a:lnTo>
                  <a:lnTo>
                    <a:pt x="2470" y="10"/>
                  </a:lnTo>
                  <a:lnTo>
                    <a:pt x="2490" y="15"/>
                  </a:lnTo>
                  <a:lnTo>
                    <a:pt x="2509" y="24"/>
                  </a:lnTo>
                  <a:lnTo>
                    <a:pt x="2528" y="32"/>
                  </a:lnTo>
                  <a:lnTo>
                    <a:pt x="2546" y="42"/>
                  </a:lnTo>
                  <a:lnTo>
                    <a:pt x="2564" y="54"/>
                  </a:lnTo>
                  <a:lnTo>
                    <a:pt x="2583" y="67"/>
                  </a:lnTo>
                  <a:lnTo>
                    <a:pt x="2600" y="80"/>
                  </a:lnTo>
                  <a:lnTo>
                    <a:pt x="2617" y="94"/>
                  </a:lnTo>
                  <a:lnTo>
                    <a:pt x="2651" y="124"/>
                  </a:lnTo>
                  <a:lnTo>
                    <a:pt x="2686" y="156"/>
                  </a:lnTo>
                  <a:lnTo>
                    <a:pt x="2719" y="188"/>
                  </a:lnTo>
                  <a:lnTo>
                    <a:pt x="2754" y="222"/>
                  </a:lnTo>
                  <a:lnTo>
                    <a:pt x="2788" y="254"/>
                  </a:lnTo>
                  <a:lnTo>
                    <a:pt x="2824" y="284"/>
                  </a:lnTo>
                  <a:lnTo>
                    <a:pt x="2842" y="298"/>
                  </a:lnTo>
                  <a:lnTo>
                    <a:pt x="2860" y="312"/>
                  </a:lnTo>
                  <a:lnTo>
                    <a:pt x="2878" y="324"/>
                  </a:lnTo>
                  <a:lnTo>
                    <a:pt x="2898" y="336"/>
                  </a:lnTo>
                  <a:lnTo>
                    <a:pt x="2917" y="346"/>
                  </a:lnTo>
                  <a:lnTo>
                    <a:pt x="2938" y="356"/>
                  </a:lnTo>
                  <a:lnTo>
                    <a:pt x="2958" y="364"/>
                  </a:lnTo>
                  <a:lnTo>
                    <a:pt x="2978" y="371"/>
                  </a:lnTo>
                  <a:lnTo>
                    <a:pt x="3006" y="378"/>
                  </a:lnTo>
                  <a:lnTo>
                    <a:pt x="3034" y="383"/>
                  </a:lnTo>
                  <a:lnTo>
                    <a:pt x="3063" y="387"/>
                  </a:lnTo>
                  <a:lnTo>
                    <a:pt x="3092" y="391"/>
                  </a:lnTo>
                  <a:lnTo>
                    <a:pt x="3121" y="392"/>
                  </a:lnTo>
                  <a:lnTo>
                    <a:pt x="3151" y="393"/>
                  </a:lnTo>
                  <a:lnTo>
                    <a:pt x="3181" y="393"/>
                  </a:lnTo>
                  <a:lnTo>
                    <a:pt x="3210" y="392"/>
                  </a:lnTo>
                  <a:lnTo>
                    <a:pt x="3270" y="388"/>
                  </a:lnTo>
                  <a:lnTo>
                    <a:pt x="3330" y="383"/>
                  </a:lnTo>
                  <a:lnTo>
                    <a:pt x="3390" y="377"/>
                  </a:lnTo>
                  <a:lnTo>
                    <a:pt x="3451" y="370"/>
                  </a:lnTo>
                  <a:lnTo>
                    <a:pt x="3511" y="365"/>
                  </a:lnTo>
                  <a:lnTo>
                    <a:pt x="3570" y="360"/>
                  </a:lnTo>
                  <a:lnTo>
                    <a:pt x="3599" y="359"/>
                  </a:lnTo>
                  <a:lnTo>
                    <a:pt x="3628" y="359"/>
                  </a:lnTo>
                  <a:lnTo>
                    <a:pt x="3657" y="359"/>
                  </a:lnTo>
                  <a:lnTo>
                    <a:pt x="3686" y="361"/>
                  </a:lnTo>
                  <a:lnTo>
                    <a:pt x="3714" y="364"/>
                  </a:lnTo>
                  <a:lnTo>
                    <a:pt x="3742" y="368"/>
                  </a:lnTo>
                  <a:lnTo>
                    <a:pt x="3769" y="372"/>
                  </a:lnTo>
                  <a:lnTo>
                    <a:pt x="3796" y="380"/>
                  </a:lnTo>
                  <a:lnTo>
                    <a:pt x="3823" y="387"/>
                  </a:lnTo>
                  <a:lnTo>
                    <a:pt x="3849" y="397"/>
                  </a:lnTo>
                  <a:lnTo>
                    <a:pt x="3873" y="409"/>
                  </a:lnTo>
                  <a:lnTo>
                    <a:pt x="3898" y="422"/>
                  </a:lnTo>
                  <a:lnTo>
                    <a:pt x="3916" y="434"/>
                  </a:lnTo>
                  <a:lnTo>
                    <a:pt x="3933" y="446"/>
                  </a:lnTo>
                  <a:lnTo>
                    <a:pt x="3948" y="460"/>
                  </a:lnTo>
                  <a:lnTo>
                    <a:pt x="3962" y="475"/>
                  </a:lnTo>
                  <a:lnTo>
                    <a:pt x="3973" y="492"/>
                  </a:lnTo>
                  <a:lnTo>
                    <a:pt x="3984" y="509"/>
                  </a:lnTo>
                  <a:lnTo>
                    <a:pt x="3994" y="526"/>
                  </a:lnTo>
                  <a:lnTo>
                    <a:pt x="4002" y="545"/>
                  </a:lnTo>
                  <a:lnTo>
                    <a:pt x="4010" y="565"/>
                  </a:lnTo>
                  <a:lnTo>
                    <a:pt x="4016" y="584"/>
                  </a:lnTo>
                  <a:lnTo>
                    <a:pt x="4023" y="606"/>
                  </a:lnTo>
                  <a:lnTo>
                    <a:pt x="4028" y="626"/>
                  </a:lnTo>
                  <a:lnTo>
                    <a:pt x="4038" y="670"/>
                  </a:lnTo>
                  <a:lnTo>
                    <a:pt x="4046" y="715"/>
                  </a:lnTo>
                  <a:lnTo>
                    <a:pt x="4052" y="760"/>
                  </a:lnTo>
                  <a:lnTo>
                    <a:pt x="4059" y="806"/>
                  </a:lnTo>
                  <a:lnTo>
                    <a:pt x="4068" y="852"/>
                  </a:lnTo>
                  <a:lnTo>
                    <a:pt x="4078" y="896"/>
                  </a:lnTo>
                  <a:lnTo>
                    <a:pt x="4083" y="917"/>
                  </a:lnTo>
                  <a:lnTo>
                    <a:pt x="4090" y="939"/>
                  </a:lnTo>
                  <a:lnTo>
                    <a:pt x="4097" y="959"/>
                  </a:lnTo>
                  <a:lnTo>
                    <a:pt x="4106" y="980"/>
                  </a:lnTo>
                  <a:lnTo>
                    <a:pt x="4114" y="999"/>
                  </a:lnTo>
                  <a:lnTo>
                    <a:pt x="4125" y="1017"/>
                  </a:lnTo>
                  <a:lnTo>
                    <a:pt x="4137" y="1036"/>
                  </a:lnTo>
                  <a:lnTo>
                    <a:pt x="4149" y="1053"/>
                  </a:lnTo>
                  <a:lnTo>
                    <a:pt x="4167" y="1074"/>
                  </a:lnTo>
                  <a:lnTo>
                    <a:pt x="4186" y="1095"/>
                  </a:lnTo>
                  <a:lnTo>
                    <a:pt x="4207" y="1114"/>
                  </a:lnTo>
                  <a:lnTo>
                    <a:pt x="4228" y="1133"/>
                  </a:lnTo>
                  <a:lnTo>
                    <a:pt x="4251" y="1150"/>
                  </a:lnTo>
                  <a:lnTo>
                    <a:pt x="4275" y="1167"/>
                  </a:lnTo>
                  <a:lnTo>
                    <a:pt x="4298" y="1184"/>
                  </a:lnTo>
                  <a:lnTo>
                    <a:pt x="4323" y="1199"/>
                  </a:lnTo>
                  <a:lnTo>
                    <a:pt x="4374" y="1230"/>
                  </a:lnTo>
                  <a:lnTo>
                    <a:pt x="4426" y="1259"/>
                  </a:lnTo>
                  <a:lnTo>
                    <a:pt x="4479" y="1288"/>
                  </a:lnTo>
                  <a:lnTo>
                    <a:pt x="4532" y="1316"/>
                  </a:lnTo>
                  <a:lnTo>
                    <a:pt x="4583" y="1345"/>
                  </a:lnTo>
                  <a:lnTo>
                    <a:pt x="4634" y="1376"/>
                  </a:lnTo>
                  <a:lnTo>
                    <a:pt x="4658" y="1392"/>
                  </a:lnTo>
                  <a:lnTo>
                    <a:pt x="4681" y="1408"/>
                  </a:lnTo>
                  <a:lnTo>
                    <a:pt x="4704" y="1424"/>
                  </a:lnTo>
                  <a:lnTo>
                    <a:pt x="4726" y="1441"/>
                  </a:lnTo>
                  <a:lnTo>
                    <a:pt x="4748" y="1459"/>
                  </a:lnTo>
                  <a:lnTo>
                    <a:pt x="4767" y="1478"/>
                  </a:lnTo>
                  <a:lnTo>
                    <a:pt x="4787" y="1497"/>
                  </a:lnTo>
                  <a:lnTo>
                    <a:pt x="4804" y="1518"/>
                  </a:lnTo>
                  <a:lnTo>
                    <a:pt x="4820" y="1539"/>
                  </a:lnTo>
                  <a:lnTo>
                    <a:pt x="4835" y="1562"/>
                  </a:lnTo>
                  <a:lnTo>
                    <a:pt x="4849" y="1585"/>
                  </a:lnTo>
                  <a:lnTo>
                    <a:pt x="4861" y="1610"/>
                  </a:lnTo>
                  <a:lnTo>
                    <a:pt x="4868" y="1629"/>
                  </a:lnTo>
                  <a:lnTo>
                    <a:pt x="4874" y="1649"/>
                  </a:lnTo>
                  <a:lnTo>
                    <a:pt x="4877" y="1668"/>
                  </a:lnTo>
                  <a:lnTo>
                    <a:pt x="4878" y="1687"/>
                  </a:lnTo>
                  <a:lnTo>
                    <a:pt x="4878" y="1708"/>
                  </a:lnTo>
                  <a:lnTo>
                    <a:pt x="4876" y="1727"/>
                  </a:lnTo>
                  <a:lnTo>
                    <a:pt x="4873" y="1748"/>
                  </a:lnTo>
                  <a:lnTo>
                    <a:pt x="4868" y="1767"/>
                  </a:lnTo>
                  <a:lnTo>
                    <a:pt x="4863" y="1787"/>
                  </a:lnTo>
                  <a:lnTo>
                    <a:pt x="4856" y="1808"/>
                  </a:lnTo>
                  <a:lnTo>
                    <a:pt x="4848" y="1827"/>
                  </a:lnTo>
                  <a:lnTo>
                    <a:pt x="4839" y="1848"/>
                  </a:lnTo>
                  <a:lnTo>
                    <a:pt x="4820" y="1889"/>
                  </a:lnTo>
                  <a:lnTo>
                    <a:pt x="4798" y="1929"/>
                  </a:lnTo>
                  <a:lnTo>
                    <a:pt x="4776" y="1970"/>
                  </a:lnTo>
                  <a:lnTo>
                    <a:pt x="4753" y="2011"/>
                  </a:lnTo>
                  <a:lnTo>
                    <a:pt x="4732" y="2052"/>
                  </a:lnTo>
                  <a:lnTo>
                    <a:pt x="4712" y="2094"/>
                  </a:lnTo>
                  <a:lnTo>
                    <a:pt x="4704" y="2114"/>
                  </a:lnTo>
                  <a:lnTo>
                    <a:pt x="4696" y="2136"/>
                  </a:lnTo>
                  <a:lnTo>
                    <a:pt x="4690" y="2156"/>
                  </a:lnTo>
                  <a:lnTo>
                    <a:pt x="4683" y="2177"/>
                  </a:lnTo>
                  <a:lnTo>
                    <a:pt x="4679" y="2198"/>
                  </a:lnTo>
                  <a:lnTo>
                    <a:pt x="4676" y="2219"/>
                  </a:lnTo>
                  <a:lnTo>
                    <a:pt x="4674" y="2240"/>
                  </a:lnTo>
                  <a:lnTo>
                    <a:pt x="4674" y="2262"/>
                  </a:lnTo>
                  <a:lnTo>
                    <a:pt x="4676" y="2289"/>
                  </a:lnTo>
                  <a:lnTo>
                    <a:pt x="4678" y="2315"/>
                  </a:lnTo>
                  <a:lnTo>
                    <a:pt x="4683" y="2343"/>
                  </a:lnTo>
                  <a:lnTo>
                    <a:pt x="4689" y="2370"/>
                  </a:lnTo>
                  <a:lnTo>
                    <a:pt x="4696" y="2397"/>
                  </a:lnTo>
                  <a:lnTo>
                    <a:pt x="4705" y="2424"/>
                  </a:lnTo>
                  <a:lnTo>
                    <a:pt x="4714" y="2451"/>
                  </a:lnTo>
                  <a:lnTo>
                    <a:pt x="4723" y="2477"/>
                  </a:lnTo>
                  <a:lnTo>
                    <a:pt x="4746" y="2531"/>
                  </a:lnTo>
                  <a:lnTo>
                    <a:pt x="4769" y="2583"/>
                  </a:lnTo>
                  <a:lnTo>
                    <a:pt x="4794" y="2636"/>
                  </a:lnTo>
                  <a:lnTo>
                    <a:pt x="4820" y="2689"/>
                  </a:lnTo>
                  <a:lnTo>
                    <a:pt x="4844" y="2741"/>
                  </a:lnTo>
                  <a:lnTo>
                    <a:pt x="4866" y="2794"/>
                  </a:lnTo>
                  <a:lnTo>
                    <a:pt x="4876" y="2820"/>
                  </a:lnTo>
                  <a:lnTo>
                    <a:pt x="4885" y="2847"/>
                  </a:lnTo>
                  <a:lnTo>
                    <a:pt x="4893" y="2872"/>
                  </a:lnTo>
                  <a:lnTo>
                    <a:pt x="4901" y="2898"/>
                  </a:lnTo>
                  <a:lnTo>
                    <a:pt x="4906" y="2925"/>
                  </a:lnTo>
                  <a:lnTo>
                    <a:pt x="4911" y="2951"/>
                  </a:lnTo>
                  <a:lnTo>
                    <a:pt x="4915" y="2978"/>
                  </a:lnTo>
                  <a:lnTo>
                    <a:pt x="4916" y="3004"/>
                  </a:lnTo>
                  <a:lnTo>
                    <a:pt x="4916" y="3031"/>
                  </a:lnTo>
                  <a:lnTo>
                    <a:pt x="4915" y="3057"/>
                  </a:lnTo>
                  <a:lnTo>
                    <a:pt x="4910" y="3083"/>
                  </a:lnTo>
                  <a:lnTo>
                    <a:pt x="4905" y="3110"/>
                  </a:lnTo>
                  <a:lnTo>
                    <a:pt x="4899" y="3131"/>
                  </a:lnTo>
                  <a:lnTo>
                    <a:pt x="4891" y="3149"/>
                  </a:lnTo>
                  <a:lnTo>
                    <a:pt x="4881" y="3167"/>
                  </a:lnTo>
                  <a:lnTo>
                    <a:pt x="4871" y="3183"/>
                  </a:lnTo>
                  <a:lnTo>
                    <a:pt x="4859" y="3199"/>
                  </a:lnTo>
                  <a:lnTo>
                    <a:pt x="4845" y="3214"/>
                  </a:lnTo>
                  <a:lnTo>
                    <a:pt x="4830" y="3230"/>
                  </a:lnTo>
                  <a:lnTo>
                    <a:pt x="4814" y="3242"/>
                  </a:lnTo>
                  <a:lnTo>
                    <a:pt x="4797" y="3255"/>
                  </a:lnTo>
                  <a:lnTo>
                    <a:pt x="4779" y="3268"/>
                  </a:lnTo>
                  <a:lnTo>
                    <a:pt x="4761" y="3280"/>
                  </a:lnTo>
                  <a:lnTo>
                    <a:pt x="4740" y="3292"/>
                  </a:lnTo>
                  <a:lnTo>
                    <a:pt x="4701" y="3313"/>
                  </a:lnTo>
                  <a:lnTo>
                    <a:pt x="4658" y="3334"/>
                  </a:lnTo>
                  <a:lnTo>
                    <a:pt x="4615" y="3355"/>
                  </a:lnTo>
                  <a:lnTo>
                    <a:pt x="4570" y="3376"/>
                  </a:lnTo>
                  <a:lnTo>
                    <a:pt x="4528" y="3397"/>
                  </a:lnTo>
                  <a:lnTo>
                    <a:pt x="4487" y="3420"/>
                  </a:lnTo>
                  <a:lnTo>
                    <a:pt x="4467" y="3432"/>
                  </a:lnTo>
                  <a:lnTo>
                    <a:pt x="4448" y="3445"/>
                  </a:lnTo>
                  <a:lnTo>
                    <a:pt x="4430" y="3457"/>
                  </a:lnTo>
                  <a:lnTo>
                    <a:pt x="4411" y="3471"/>
                  </a:lnTo>
                  <a:lnTo>
                    <a:pt x="4395" y="3485"/>
                  </a:lnTo>
                  <a:lnTo>
                    <a:pt x="4379" y="3500"/>
                  </a:lnTo>
                  <a:lnTo>
                    <a:pt x="4365" y="3517"/>
                  </a:lnTo>
                  <a:lnTo>
                    <a:pt x="4352" y="3534"/>
                  </a:lnTo>
                  <a:lnTo>
                    <a:pt x="4336" y="3556"/>
                  </a:lnTo>
                  <a:lnTo>
                    <a:pt x="4322" y="3581"/>
                  </a:lnTo>
                  <a:lnTo>
                    <a:pt x="4309" y="3605"/>
                  </a:lnTo>
                  <a:lnTo>
                    <a:pt x="4297" y="3631"/>
                  </a:lnTo>
                  <a:lnTo>
                    <a:pt x="4286" y="3656"/>
                  </a:lnTo>
                  <a:lnTo>
                    <a:pt x="4277" y="3682"/>
                  </a:lnTo>
                  <a:lnTo>
                    <a:pt x="4267" y="3709"/>
                  </a:lnTo>
                  <a:lnTo>
                    <a:pt x="4259" y="3737"/>
                  </a:lnTo>
                  <a:lnTo>
                    <a:pt x="4243" y="3792"/>
                  </a:lnTo>
                  <a:lnTo>
                    <a:pt x="4231" y="3849"/>
                  </a:lnTo>
                  <a:lnTo>
                    <a:pt x="4218" y="3905"/>
                  </a:lnTo>
                  <a:lnTo>
                    <a:pt x="4206" y="3962"/>
                  </a:lnTo>
                  <a:lnTo>
                    <a:pt x="4193" y="4018"/>
                  </a:lnTo>
                  <a:lnTo>
                    <a:pt x="4178" y="4073"/>
                  </a:lnTo>
                  <a:lnTo>
                    <a:pt x="4170" y="4099"/>
                  </a:lnTo>
                  <a:lnTo>
                    <a:pt x="4162" y="4126"/>
                  </a:lnTo>
                  <a:lnTo>
                    <a:pt x="4152" y="4152"/>
                  </a:lnTo>
                  <a:lnTo>
                    <a:pt x="4141" y="4177"/>
                  </a:lnTo>
                  <a:lnTo>
                    <a:pt x="4130" y="4202"/>
                  </a:lnTo>
                  <a:lnTo>
                    <a:pt x="4118" y="4225"/>
                  </a:lnTo>
                  <a:lnTo>
                    <a:pt x="4104" y="4249"/>
                  </a:lnTo>
                  <a:lnTo>
                    <a:pt x="4090" y="4272"/>
                  </a:lnTo>
                  <a:lnTo>
                    <a:pt x="4072" y="4293"/>
                  </a:lnTo>
                  <a:lnTo>
                    <a:pt x="4055" y="4313"/>
                  </a:lnTo>
                  <a:lnTo>
                    <a:pt x="4036" y="4333"/>
                  </a:lnTo>
                  <a:lnTo>
                    <a:pt x="4014" y="4351"/>
                  </a:lnTo>
                  <a:lnTo>
                    <a:pt x="3997" y="4364"/>
                  </a:lnTo>
                  <a:lnTo>
                    <a:pt x="3980" y="4375"/>
                  </a:lnTo>
                  <a:lnTo>
                    <a:pt x="3961" y="4384"/>
                  </a:lnTo>
                  <a:lnTo>
                    <a:pt x="3942" y="4392"/>
                  </a:lnTo>
                  <a:lnTo>
                    <a:pt x="3922" y="4397"/>
                  </a:lnTo>
                  <a:lnTo>
                    <a:pt x="3901" y="4402"/>
                  </a:lnTo>
                  <a:lnTo>
                    <a:pt x="3881" y="4405"/>
                  </a:lnTo>
                  <a:lnTo>
                    <a:pt x="3859" y="4407"/>
                  </a:lnTo>
                  <a:lnTo>
                    <a:pt x="3838" y="4408"/>
                  </a:lnTo>
                  <a:lnTo>
                    <a:pt x="3815" y="4408"/>
                  </a:lnTo>
                  <a:lnTo>
                    <a:pt x="3793" y="4408"/>
                  </a:lnTo>
                  <a:lnTo>
                    <a:pt x="3770" y="4406"/>
                  </a:lnTo>
                  <a:lnTo>
                    <a:pt x="3724" y="4401"/>
                  </a:lnTo>
                  <a:lnTo>
                    <a:pt x="3677" y="4394"/>
                  </a:lnTo>
                  <a:lnTo>
                    <a:pt x="3629" y="4387"/>
                  </a:lnTo>
                  <a:lnTo>
                    <a:pt x="3581" y="4379"/>
                  </a:lnTo>
                  <a:lnTo>
                    <a:pt x="3533" y="4373"/>
                  </a:lnTo>
                  <a:lnTo>
                    <a:pt x="3486" y="4368"/>
                  </a:lnTo>
                  <a:lnTo>
                    <a:pt x="3462" y="4366"/>
                  </a:lnTo>
                  <a:lnTo>
                    <a:pt x="3439" y="4366"/>
                  </a:lnTo>
                  <a:lnTo>
                    <a:pt x="3416" y="4366"/>
                  </a:lnTo>
                  <a:lnTo>
                    <a:pt x="3394" y="4367"/>
                  </a:lnTo>
                  <a:lnTo>
                    <a:pt x="3371" y="4369"/>
                  </a:lnTo>
                  <a:lnTo>
                    <a:pt x="3350" y="4374"/>
                  </a:lnTo>
                  <a:lnTo>
                    <a:pt x="3328" y="4378"/>
                  </a:lnTo>
                  <a:lnTo>
                    <a:pt x="3307" y="4384"/>
                  </a:lnTo>
                  <a:lnTo>
                    <a:pt x="3280" y="4394"/>
                  </a:lnTo>
                  <a:lnTo>
                    <a:pt x="3254" y="4406"/>
                  </a:lnTo>
                  <a:lnTo>
                    <a:pt x="3228" y="4419"/>
                  </a:lnTo>
                  <a:lnTo>
                    <a:pt x="3202" y="4432"/>
                  </a:lnTo>
                  <a:lnTo>
                    <a:pt x="3177" y="4447"/>
                  </a:lnTo>
                  <a:lnTo>
                    <a:pt x="3154" y="4463"/>
                  </a:lnTo>
                  <a:lnTo>
                    <a:pt x="3130" y="4479"/>
                  </a:lnTo>
                  <a:lnTo>
                    <a:pt x="3106" y="4497"/>
                  </a:lnTo>
                  <a:lnTo>
                    <a:pt x="3060" y="4534"/>
                  </a:lnTo>
                  <a:lnTo>
                    <a:pt x="3014" y="4572"/>
                  </a:lnTo>
                  <a:lnTo>
                    <a:pt x="2970" y="4610"/>
                  </a:lnTo>
                  <a:lnTo>
                    <a:pt x="2925" y="4650"/>
                  </a:lnTo>
                  <a:lnTo>
                    <a:pt x="2879" y="4688"/>
                  </a:lnTo>
                  <a:lnTo>
                    <a:pt x="2833" y="4724"/>
                  </a:lnTo>
                  <a:lnTo>
                    <a:pt x="2811" y="4741"/>
                  </a:lnTo>
                  <a:lnTo>
                    <a:pt x="2787" y="4758"/>
                  </a:lnTo>
                  <a:lnTo>
                    <a:pt x="2763" y="4774"/>
                  </a:lnTo>
                  <a:lnTo>
                    <a:pt x="2740" y="4788"/>
                  </a:lnTo>
                  <a:lnTo>
                    <a:pt x="2715" y="4802"/>
                  </a:lnTo>
                  <a:lnTo>
                    <a:pt x="2690" y="4815"/>
                  </a:lnTo>
                  <a:lnTo>
                    <a:pt x="2665" y="4825"/>
                  </a:lnTo>
                  <a:lnTo>
                    <a:pt x="2640" y="4835"/>
                  </a:lnTo>
                  <a:lnTo>
                    <a:pt x="2613" y="4844"/>
                  </a:lnTo>
                  <a:lnTo>
                    <a:pt x="2586" y="4850"/>
                  </a:lnTo>
                  <a:lnTo>
                    <a:pt x="2558" y="4855"/>
                  </a:lnTo>
                  <a:lnTo>
                    <a:pt x="2530" y="4858"/>
                  </a:lnTo>
                  <a:lnTo>
                    <a:pt x="2508" y="4859"/>
                  </a:lnTo>
                  <a:lnTo>
                    <a:pt x="2487" y="4858"/>
                  </a:lnTo>
                  <a:lnTo>
                    <a:pt x="2466" y="4854"/>
                  </a:lnTo>
                  <a:lnTo>
                    <a:pt x="2446" y="4850"/>
                  </a:lnTo>
                  <a:lnTo>
                    <a:pt x="2427" y="4844"/>
                  </a:lnTo>
                  <a:lnTo>
                    <a:pt x="2407" y="4836"/>
                  </a:lnTo>
                  <a:lnTo>
                    <a:pt x="2388" y="4828"/>
                  </a:lnTo>
                  <a:lnTo>
                    <a:pt x="2370" y="4817"/>
                  </a:lnTo>
                  <a:lnTo>
                    <a:pt x="2351" y="4805"/>
                  </a:lnTo>
                  <a:lnTo>
                    <a:pt x="2333" y="4793"/>
                  </a:lnTo>
                  <a:lnTo>
                    <a:pt x="2316" y="4780"/>
                  </a:lnTo>
                  <a:lnTo>
                    <a:pt x="2299" y="4766"/>
                  </a:lnTo>
                  <a:lnTo>
                    <a:pt x="2264" y="4736"/>
                  </a:lnTo>
                  <a:lnTo>
                    <a:pt x="2230" y="4704"/>
                  </a:lnTo>
                  <a:lnTo>
                    <a:pt x="2196" y="4671"/>
                  </a:lnTo>
                  <a:lnTo>
                    <a:pt x="2162" y="4638"/>
                  </a:lnTo>
                  <a:lnTo>
                    <a:pt x="2128" y="4606"/>
                  </a:lnTo>
                  <a:lnTo>
                    <a:pt x="2092" y="4576"/>
                  </a:lnTo>
                  <a:lnTo>
                    <a:pt x="2074" y="4561"/>
                  </a:lnTo>
                  <a:lnTo>
                    <a:pt x="2055" y="4548"/>
                  </a:lnTo>
                  <a:lnTo>
                    <a:pt x="2037" y="4535"/>
                  </a:lnTo>
                  <a:lnTo>
                    <a:pt x="2018" y="4523"/>
                  </a:lnTo>
                  <a:lnTo>
                    <a:pt x="1998" y="4512"/>
                  </a:lnTo>
                  <a:lnTo>
                    <a:pt x="1978" y="4504"/>
                  </a:lnTo>
                  <a:lnTo>
                    <a:pt x="1958" y="4495"/>
                  </a:lnTo>
                  <a:lnTo>
                    <a:pt x="1937" y="4489"/>
                  </a:lnTo>
                  <a:lnTo>
                    <a:pt x="1909" y="4481"/>
                  </a:lnTo>
                  <a:lnTo>
                    <a:pt x="1881" y="4476"/>
                  </a:lnTo>
                  <a:lnTo>
                    <a:pt x="1852" y="4473"/>
                  </a:lnTo>
                  <a:lnTo>
                    <a:pt x="1823" y="4469"/>
                  </a:lnTo>
                  <a:lnTo>
                    <a:pt x="1794" y="4467"/>
                  </a:lnTo>
                  <a:lnTo>
                    <a:pt x="1765" y="4466"/>
                  </a:lnTo>
                  <a:lnTo>
                    <a:pt x="1736" y="4466"/>
                  </a:lnTo>
                  <a:lnTo>
                    <a:pt x="1706" y="4467"/>
                  </a:lnTo>
                  <a:lnTo>
                    <a:pt x="1646" y="4472"/>
                  </a:lnTo>
                  <a:lnTo>
                    <a:pt x="1585" y="4477"/>
                  </a:lnTo>
                  <a:lnTo>
                    <a:pt x="1525" y="4483"/>
                  </a:lnTo>
                  <a:lnTo>
                    <a:pt x="1465" y="4490"/>
                  </a:lnTo>
                  <a:lnTo>
                    <a:pt x="1405" y="4495"/>
                  </a:lnTo>
                  <a:lnTo>
                    <a:pt x="1346" y="4500"/>
                  </a:lnTo>
                  <a:lnTo>
                    <a:pt x="1316" y="4501"/>
                  </a:lnTo>
                  <a:lnTo>
                    <a:pt x="1287" y="4501"/>
                  </a:lnTo>
                  <a:lnTo>
                    <a:pt x="1258" y="4500"/>
                  </a:lnTo>
                  <a:lnTo>
                    <a:pt x="1230" y="4498"/>
                  </a:lnTo>
                  <a:lnTo>
                    <a:pt x="1201" y="4495"/>
                  </a:lnTo>
                  <a:lnTo>
                    <a:pt x="1175" y="4492"/>
                  </a:lnTo>
                  <a:lnTo>
                    <a:pt x="1147" y="4487"/>
                  </a:lnTo>
                  <a:lnTo>
                    <a:pt x="1120" y="4480"/>
                  </a:lnTo>
                  <a:lnTo>
                    <a:pt x="1094" y="4472"/>
                  </a:lnTo>
                  <a:lnTo>
                    <a:pt x="1068" y="4462"/>
                  </a:lnTo>
                  <a:lnTo>
                    <a:pt x="1042" y="4451"/>
                  </a:lnTo>
                  <a:lnTo>
                    <a:pt x="1017" y="4437"/>
                  </a:lnTo>
                  <a:lnTo>
                    <a:pt x="999" y="4425"/>
                  </a:lnTo>
                  <a:lnTo>
                    <a:pt x="983" y="4413"/>
                  </a:lnTo>
                  <a:lnTo>
                    <a:pt x="968" y="4400"/>
                  </a:lnTo>
                  <a:lnTo>
                    <a:pt x="955" y="4384"/>
                  </a:lnTo>
                  <a:lnTo>
                    <a:pt x="942" y="4368"/>
                  </a:lnTo>
                  <a:lnTo>
                    <a:pt x="931" y="4351"/>
                  </a:lnTo>
                  <a:lnTo>
                    <a:pt x="922" y="4333"/>
                  </a:lnTo>
                  <a:lnTo>
                    <a:pt x="913" y="4315"/>
                  </a:lnTo>
                  <a:lnTo>
                    <a:pt x="906" y="4295"/>
                  </a:lnTo>
                  <a:lnTo>
                    <a:pt x="899" y="4275"/>
                  </a:lnTo>
                  <a:lnTo>
                    <a:pt x="893" y="4254"/>
                  </a:lnTo>
                  <a:lnTo>
                    <a:pt x="887" y="4233"/>
                  </a:lnTo>
                  <a:lnTo>
                    <a:pt x="879" y="4190"/>
                  </a:lnTo>
                  <a:lnTo>
                    <a:pt x="870" y="4145"/>
                  </a:lnTo>
                  <a:lnTo>
                    <a:pt x="864" y="4099"/>
                  </a:lnTo>
                  <a:lnTo>
                    <a:pt x="856" y="4053"/>
                  </a:lnTo>
                  <a:lnTo>
                    <a:pt x="849" y="4008"/>
                  </a:lnTo>
                  <a:lnTo>
                    <a:pt x="838" y="3964"/>
                  </a:lnTo>
                  <a:lnTo>
                    <a:pt x="832" y="3941"/>
                  </a:lnTo>
                  <a:lnTo>
                    <a:pt x="826" y="3921"/>
                  </a:lnTo>
                  <a:lnTo>
                    <a:pt x="818" y="3899"/>
                  </a:lnTo>
                  <a:lnTo>
                    <a:pt x="811" y="3880"/>
                  </a:lnTo>
                  <a:lnTo>
                    <a:pt x="801" y="3861"/>
                  </a:lnTo>
                  <a:lnTo>
                    <a:pt x="790" y="3841"/>
                  </a:lnTo>
                  <a:lnTo>
                    <a:pt x="780" y="3823"/>
                  </a:lnTo>
                  <a:lnTo>
                    <a:pt x="767" y="3806"/>
                  </a:lnTo>
                  <a:lnTo>
                    <a:pt x="749" y="3785"/>
                  </a:lnTo>
                  <a:lnTo>
                    <a:pt x="729" y="3765"/>
                  </a:lnTo>
                  <a:lnTo>
                    <a:pt x="709" y="3746"/>
                  </a:lnTo>
                  <a:lnTo>
                    <a:pt x="687" y="3727"/>
                  </a:lnTo>
                  <a:lnTo>
                    <a:pt x="665" y="3709"/>
                  </a:lnTo>
                  <a:lnTo>
                    <a:pt x="641" y="3692"/>
                  </a:lnTo>
                  <a:lnTo>
                    <a:pt x="617" y="3676"/>
                  </a:lnTo>
                  <a:lnTo>
                    <a:pt x="593" y="3660"/>
                  </a:lnTo>
                  <a:lnTo>
                    <a:pt x="542" y="3630"/>
                  </a:lnTo>
                  <a:lnTo>
                    <a:pt x="490" y="3599"/>
                  </a:lnTo>
                  <a:lnTo>
                    <a:pt x="438" y="3571"/>
                  </a:lnTo>
                  <a:lnTo>
                    <a:pt x="385" y="3542"/>
                  </a:lnTo>
                  <a:lnTo>
                    <a:pt x="332" y="3513"/>
                  </a:lnTo>
                  <a:lnTo>
                    <a:pt x="283" y="3483"/>
                  </a:lnTo>
                  <a:lnTo>
                    <a:pt x="258" y="3468"/>
                  </a:lnTo>
                  <a:lnTo>
                    <a:pt x="234" y="3452"/>
                  </a:lnTo>
                  <a:lnTo>
                    <a:pt x="212" y="3436"/>
                  </a:lnTo>
                  <a:lnTo>
                    <a:pt x="189" y="3419"/>
                  </a:lnTo>
                  <a:lnTo>
                    <a:pt x="169" y="3400"/>
                  </a:lnTo>
                  <a:lnTo>
                    <a:pt x="148" y="3382"/>
                  </a:lnTo>
                  <a:lnTo>
                    <a:pt x="129" y="3362"/>
                  </a:lnTo>
                  <a:lnTo>
                    <a:pt x="112" y="3342"/>
                  </a:lnTo>
                  <a:lnTo>
                    <a:pt x="96" y="3321"/>
                  </a:lnTo>
                  <a:lnTo>
                    <a:pt x="81" y="3298"/>
                  </a:lnTo>
                  <a:lnTo>
                    <a:pt x="67" y="3275"/>
                  </a:lnTo>
                  <a:lnTo>
                    <a:pt x="55" y="3250"/>
                  </a:lnTo>
                  <a:lnTo>
                    <a:pt x="48" y="3231"/>
                  </a:lnTo>
                  <a:lnTo>
                    <a:pt x="43" y="3211"/>
                  </a:lnTo>
                  <a:lnTo>
                    <a:pt x="40" y="3191"/>
                  </a:lnTo>
                  <a:lnTo>
                    <a:pt x="38" y="3171"/>
                  </a:lnTo>
                  <a:lnTo>
                    <a:pt x="38" y="3152"/>
                  </a:lnTo>
                  <a:lnTo>
                    <a:pt x="40" y="3132"/>
                  </a:lnTo>
                  <a:lnTo>
                    <a:pt x="43" y="3112"/>
                  </a:lnTo>
                  <a:lnTo>
                    <a:pt x="47" y="3092"/>
                  </a:lnTo>
                  <a:lnTo>
                    <a:pt x="53" y="3072"/>
                  </a:lnTo>
                  <a:lnTo>
                    <a:pt x="60" y="3052"/>
                  </a:lnTo>
                  <a:lnTo>
                    <a:pt x="68" y="3032"/>
                  </a:lnTo>
                  <a:lnTo>
                    <a:pt x="76" y="3011"/>
                  </a:lnTo>
                  <a:lnTo>
                    <a:pt x="96" y="2971"/>
                  </a:lnTo>
                  <a:lnTo>
                    <a:pt x="117" y="2931"/>
                  </a:lnTo>
                  <a:lnTo>
                    <a:pt x="140" y="2890"/>
                  </a:lnTo>
                  <a:lnTo>
                    <a:pt x="162" y="2849"/>
                  </a:lnTo>
                  <a:lnTo>
                    <a:pt x="184" y="2807"/>
                  </a:lnTo>
                  <a:lnTo>
                    <a:pt x="203" y="2766"/>
                  </a:lnTo>
                  <a:lnTo>
                    <a:pt x="212" y="2745"/>
                  </a:lnTo>
                  <a:lnTo>
                    <a:pt x="219" y="2724"/>
                  </a:lnTo>
                  <a:lnTo>
                    <a:pt x="227" y="2704"/>
                  </a:lnTo>
                  <a:lnTo>
                    <a:pt x="232" y="2682"/>
                  </a:lnTo>
                  <a:lnTo>
                    <a:pt x="237" y="2662"/>
                  </a:lnTo>
                  <a:lnTo>
                    <a:pt x="240" y="2640"/>
                  </a:lnTo>
                  <a:lnTo>
                    <a:pt x="242" y="2620"/>
                  </a:lnTo>
                  <a:lnTo>
                    <a:pt x="242" y="2598"/>
                  </a:lnTo>
                  <a:lnTo>
                    <a:pt x="241" y="2571"/>
                  </a:lnTo>
                  <a:lnTo>
                    <a:pt x="238" y="2543"/>
                  </a:lnTo>
                  <a:lnTo>
                    <a:pt x="232" y="2517"/>
                  </a:lnTo>
                  <a:lnTo>
                    <a:pt x="227" y="2490"/>
                  </a:lnTo>
                  <a:lnTo>
                    <a:pt x="219" y="2463"/>
                  </a:lnTo>
                  <a:lnTo>
                    <a:pt x="212" y="2436"/>
                  </a:lnTo>
                  <a:lnTo>
                    <a:pt x="202" y="2409"/>
                  </a:lnTo>
                  <a:lnTo>
                    <a:pt x="192" y="2382"/>
                  </a:lnTo>
                  <a:lnTo>
                    <a:pt x="170" y="2329"/>
                  </a:lnTo>
                  <a:lnTo>
                    <a:pt x="146" y="2276"/>
                  </a:lnTo>
                  <a:lnTo>
                    <a:pt x="121" y="2223"/>
                  </a:lnTo>
                  <a:lnTo>
                    <a:pt x="97" y="2170"/>
                  </a:lnTo>
                  <a:lnTo>
                    <a:pt x="72" y="2119"/>
                  </a:lnTo>
                  <a:lnTo>
                    <a:pt x="50" y="2066"/>
                  </a:lnTo>
                  <a:lnTo>
                    <a:pt x="40" y="2039"/>
                  </a:lnTo>
                  <a:lnTo>
                    <a:pt x="31" y="2013"/>
                  </a:lnTo>
                  <a:lnTo>
                    <a:pt x="22" y="1987"/>
                  </a:lnTo>
                  <a:lnTo>
                    <a:pt x="15" y="1961"/>
                  </a:lnTo>
                  <a:lnTo>
                    <a:pt x="10" y="1935"/>
                  </a:lnTo>
                  <a:lnTo>
                    <a:pt x="5" y="1908"/>
                  </a:lnTo>
                  <a:lnTo>
                    <a:pt x="1" y="1882"/>
                  </a:lnTo>
                  <a:lnTo>
                    <a:pt x="0" y="1855"/>
                  </a:lnTo>
                  <a:lnTo>
                    <a:pt x="0" y="1828"/>
                  </a:lnTo>
                  <a:lnTo>
                    <a:pt x="2" y="1802"/>
                  </a:lnTo>
                  <a:lnTo>
                    <a:pt x="5" y="1776"/>
                  </a:lnTo>
                  <a:lnTo>
                    <a:pt x="11" y="1749"/>
                  </a:lnTo>
                  <a:lnTo>
                    <a:pt x="17" y="1729"/>
                  </a:lnTo>
                  <a:lnTo>
                    <a:pt x="25" y="1710"/>
                  </a:lnTo>
                  <a:lnTo>
                    <a:pt x="34" y="1693"/>
                  </a:lnTo>
                  <a:lnTo>
                    <a:pt x="45" y="1676"/>
                  </a:lnTo>
                  <a:lnTo>
                    <a:pt x="57" y="1659"/>
                  </a:lnTo>
                  <a:lnTo>
                    <a:pt x="71" y="1644"/>
                  </a:lnTo>
                  <a:lnTo>
                    <a:pt x="86" y="1630"/>
                  </a:lnTo>
                  <a:lnTo>
                    <a:pt x="102" y="1616"/>
                  </a:lnTo>
                  <a:lnTo>
                    <a:pt x="119" y="1604"/>
                  </a:lnTo>
                  <a:lnTo>
                    <a:pt x="136" y="1592"/>
                  </a:lnTo>
                  <a:lnTo>
                    <a:pt x="156" y="1580"/>
                  </a:lnTo>
                  <a:lnTo>
                    <a:pt x="175" y="1568"/>
                  </a:lnTo>
                  <a:lnTo>
                    <a:pt x="216" y="1547"/>
                  </a:lnTo>
                  <a:lnTo>
                    <a:pt x="258" y="1525"/>
                  </a:lnTo>
                  <a:lnTo>
                    <a:pt x="301" y="1505"/>
                  </a:lnTo>
                  <a:lnTo>
                    <a:pt x="345" y="1484"/>
                  </a:lnTo>
                  <a:lnTo>
                    <a:pt x="388" y="1463"/>
                  </a:lnTo>
                  <a:lnTo>
                    <a:pt x="429" y="1439"/>
                  </a:lnTo>
                  <a:lnTo>
                    <a:pt x="449" y="1427"/>
                  </a:lnTo>
                  <a:lnTo>
                    <a:pt x="468" y="1415"/>
                  </a:lnTo>
                  <a:lnTo>
                    <a:pt x="487" y="1402"/>
                  </a:lnTo>
                  <a:lnTo>
                    <a:pt x="504" y="1388"/>
                  </a:lnTo>
                  <a:lnTo>
                    <a:pt x="520" y="1373"/>
                  </a:lnTo>
                  <a:lnTo>
                    <a:pt x="537" y="1358"/>
                  </a:lnTo>
                  <a:lnTo>
                    <a:pt x="551" y="1342"/>
                  </a:lnTo>
                  <a:lnTo>
                    <a:pt x="564" y="1326"/>
                  </a:lnTo>
                  <a:lnTo>
                    <a:pt x="580" y="1302"/>
                  </a:lnTo>
                  <a:lnTo>
                    <a:pt x="594" y="1279"/>
                  </a:lnTo>
                  <a:lnTo>
                    <a:pt x="607" y="1254"/>
                  </a:lnTo>
                  <a:lnTo>
                    <a:pt x="618" y="1229"/>
                  </a:lnTo>
                  <a:lnTo>
                    <a:pt x="629" y="1203"/>
                  </a:lnTo>
                  <a:lnTo>
                    <a:pt x="640" y="1177"/>
                  </a:lnTo>
                  <a:lnTo>
                    <a:pt x="648" y="1150"/>
                  </a:lnTo>
                  <a:lnTo>
                    <a:pt x="657" y="1123"/>
                  </a:lnTo>
                  <a:lnTo>
                    <a:pt x="672" y="1067"/>
                  </a:lnTo>
                  <a:lnTo>
                    <a:pt x="685" y="1011"/>
                  </a:lnTo>
                  <a:lnTo>
                    <a:pt x="698" y="954"/>
                  </a:lnTo>
                  <a:lnTo>
                    <a:pt x="710" y="898"/>
                  </a:lnTo>
                  <a:lnTo>
                    <a:pt x="723" y="842"/>
                  </a:lnTo>
                  <a:lnTo>
                    <a:pt x="738" y="786"/>
                  </a:lnTo>
                  <a:lnTo>
                    <a:pt x="745" y="759"/>
                  </a:lnTo>
                  <a:lnTo>
                    <a:pt x="754" y="734"/>
                  </a:lnTo>
                  <a:lnTo>
                    <a:pt x="764" y="708"/>
                  </a:lnTo>
                  <a:lnTo>
                    <a:pt x="774" y="682"/>
                  </a:lnTo>
                  <a:lnTo>
                    <a:pt x="786" y="657"/>
                  </a:lnTo>
                  <a:lnTo>
                    <a:pt x="798" y="634"/>
                  </a:lnTo>
                  <a:lnTo>
                    <a:pt x="812" y="610"/>
                  </a:lnTo>
                  <a:lnTo>
                    <a:pt x="827" y="588"/>
                  </a:lnTo>
                  <a:lnTo>
                    <a:pt x="843" y="567"/>
                  </a:lnTo>
                  <a:lnTo>
                    <a:pt x="860" y="546"/>
                  </a:lnTo>
                  <a:lnTo>
                    <a:pt x="880" y="527"/>
                  </a:lnTo>
                  <a:lnTo>
                    <a:pt x="901" y="508"/>
                  </a:lnTo>
                  <a:lnTo>
                    <a:pt x="918" y="496"/>
                  </a:lnTo>
                  <a:lnTo>
                    <a:pt x="937" y="484"/>
                  </a:lnTo>
                  <a:lnTo>
                    <a:pt x="955" y="475"/>
                  </a:lnTo>
                  <a:lnTo>
                    <a:pt x="974" y="468"/>
                  </a:lnTo>
                  <a:lnTo>
                    <a:pt x="994" y="461"/>
                  </a:lnTo>
                  <a:lnTo>
                    <a:pt x="1014" y="457"/>
                  </a:lnTo>
                  <a:lnTo>
                    <a:pt x="1035" y="454"/>
                  </a:lnTo>
                  <a:lnTo>
                    <a:pt x="1056" y="452"/>
                  </a:lnTo>
                  <a:lnTo>
                    <a:pt x="1078" y="451"/>
                  </a:lnTo>
                  <a:lnTo>
                    <a:pt x="1100" y="451"/>
                  </a:lnTo>
                  <a:lnTo>
                    <a:pt x="1123" y="452"/>
                  </a:lnTo>
                  <a:lnTo>
                    <a:pt x="1145" y="453"/>
                  </a:lnTo>
                  <a:lnTo>
                    <a:pt x="1192" y="458"/>
                  </a:lnTo>
                  <a:lnTo>
                    <a:pt x="1239" y="465"/>
                  </a:lnTo>
                  <a:lnTo>
                    <a:pt x="1287" y="472"/>
                  </a:lnTo>
                  <a:lnTo>
                    <a:pt x="1335" y="480"/>
                  </a:lnTo>
                  <a:lnTo>
                    <a:pt x="1383" y="487"/>
                  </a:lnTo>
                  <a:lnTo>
                    <a:pt x="1431" y="492"/>
                  </a:lnTo>
                  <a:lnTo>
                    <a:pt x="1453" y="493"/>
                  </a:lnTo>
                  <a:lnTo>
                    <a:pt x="1477" y="494"/>
                  </a:lnTo>
                  <a:lnTo>
                    <a:pt x="1499" y="494"/>
                  </a:lnTo>
                  <a:lnTo>
                    <a:pt x="1522" y="492"/>
                  </a:lnTo>
                  <a:lnTo>
                    <a:pt x="1545" y="489"/>
                  </a:lnTo>
                  <a:lnTo>
                    <a:pt x="1567" y="486"/>
                  </a:lnTo>
                  <a:lnTo>
                    <a:pt x="1589" y="481"/>
                  </a:lnTo>
                  <a:lnTo>
                    <a:pt x="1609" y="474"/>
                  </a:lnTo>
                  <a:lnTo>
                    <a:pt x="1636" y="465"/>
                  </a:lnTo>
                  <a:lnTo>
                    <a:pt x="1663" y="454"/>
                  </a:lnTo>
                  <a:lnTo>
                    <a:pt x="1688" y="441"/>
                  </a:lnTo>
                  <a:lnTo>
                    <a:pt x="1713" y="427"/>
                  </a:lnTo>
                  <a:lnTo>
                    <a:pt x="1738" y="412"/>
                  </a:lnTo>
                  <a:lnTo>
                    <a:pt x="1762" y="397"/>
                  </a:lnTo>
                  <a:lnTo>
                    <a:pt x="1787" y="380"/>
                  </a:lnTo>
                  <a:lnTo>
                    <a:pt x="1810" y="363"/>
                  </a:lnTo>
                  <a:lnTo>
                    <a:pt x="1856" y="326"/>
                  </a:lnTo>
                  <a:lnTo>
                    <a:pt x="1902" y="287"/>
                  </a:lnTo>
                  <a:lnTo>
                    <a:pt x="1947" y="249"/>
                  </a:lnTo>
                  <a:lnTo>
                    <a:pt x="1991" y="210"/>
                  </a:lnTo>
                  <a:lnTo>
                    <a:pt x="2036" y="172"/>
                  </a:lnTo>
                  <a:lnTo>
                    <a:pt x="2082" y="136"/>
                  </a:lnTo>
                  <a:lnTo>
                    <a:pt x="2105" y="118"/>
                  </a:lnTo>
                  <a:lnTo>
                    <a:pt x="2129" y="101"/>
                  </a:lnTo>
                  <a:lnTo>
                    <a:pt x="2152" y="86"/>
                  </a:lnTo>
                  <a:lnTo>
                    <a:pt x="2176" y="71"/>
                  </a:lnTo>
                  <a:lnTo>
                    <a:pt x="2201" y="57"/>
                  </a:lnTo>
                  <a:lnTo>
                    <a:pt x="2225" y="45"/>
                  </a:lnTo>
                  <a:lnTo>
                    <a:pt x="2251" y="35"/>
                  </a:lnTo>
                  <a:lnTo>
                    <a:pt x="2277" y="24"/>
                  </a:lnTo>
                  <a:lnTo>
                    <a:pt x="2303" y="16"/>
                  </a:lnTo>
                  <a:lnTo>
                    <a:pt x="2330" y="10"/>
                  </a:lnTo>
                  <a:lnTo>
                    <a:pt x="2358" y="4"/>
                  </a:lnTo>
                  <a:lnTo>
                    <a:pt x="2386" y="1"/>
                  </a:lnTo>
                  <a:close/>
                </a:path>
              </a:pathLst>
            </a:custGeom>
            <a:gradFill rotWithShape="1">
              <a:gsLst>
                <a:gs pos="0">
                  <a:srgbClr val="928E8C"/>
                </a:gs>
                <a:gs pos="50000">
                  <a:srgbClr val="FFFFFF"/>
                </a:gs>
                <a:gs pos="100000">
                  <a:srgbClr val="928E8C"/>
                </a:gs>
              </a:gsLst>
              <a:lin ang="2700000" scaled="1"/>
            </a:gradFill>
            <a:ln w="12700">
              <a:solidFill>
                <a:srgbClr val="928E8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5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786824" y="2310695"/>
              <a:ext cx="474695" cy="469316"/>
            </a:xfrm>
            <a:custGeom>
              <a:avLst/>
              <a:gdLst>
                <a:gd name="T0" fmla="*/ 259 w 4503"/>
                <a:gd name="T1" fmla="*/ 4 h 4450"/>
                <a:gd name="T2" fmla="*/ 284 w 4503"/>
                <a:gd name="T3" fmla="*/ 26 h 4450"/>
                <a:gd name="T4" fmla="*/ 303 w 4503"/>
                <a:gd name="T5" fmla="*/ 38 h 4450"/>
                <a:gd name="T6" fmla="*/ 333 w 4503"/>
                <a:gd name="T7" fmla="*/ 40 h 4450"/>
                <a:gd name="T8" fmla="*/ 375 w 4503"/>
                <a:gd name="T9" fmla="*/ 37 h 4450"/>
                <a:gd name="T10" fmla="*/ 399 w 4503"/>
                <a:gd name="T11" fmla="*/ 44 h 4450"/>
                <a:gd name="T12" fmla="*/ 409 w 4503"/>
                <a:gd name="T13" fmla="*/ 60 h 4450"/>
                <a:gd name="T14" fmla="*/ 416 w 4503"/>
                <a:gd name="T15" fmla="*/ 93 h 4450"/>
                <a:gd name="T16" fmla="*/ 426 w 4503"/>
                <a:gd name="T17" fmla="*/ 111 h 4450"/>
                <a:gd name="T18" fmla="*/ 456 w 4503"/>
                <a:gd name="T19" fmla="*/ 131 h 4450"/>
                <a:gd name="T20" fmla="*/ 485 w 4503"/>
                <a:gd name="T21" fmla="*/ 150 h 4450"/>
                <a:gd name="T22" fmla="*/ 496 w 4503"/>
                <a:gd name="T23" fmla="*/ 170 h 4450"/>
                <a:gd name="T24" fmla="*/ 493 w 4503"/>
                <a:gd name="T25" fmla="*/ 188 h 4450"/>
                <a:gd name="T26" fmla="*/ 477 w 4503"/>
                <a:gd name="T27" fmla="*/ 219 h 4450"/>
                <a:gd name="T28" fmla="*/ 477 w 4503"/>
                <a:gd name="T29" fmla="*/ 241 h 4450"/>
                <a:gd name="T30" fmla="*/ 493 w 4503"/>
                <a:gd name="T31" fmla="*/ 279 h 4450"/>
                <a:gd name="T32" fmla="*/ 500 w 4503"/>
                <a:gd name="T33" fmla="*/ 306 h 4450"/>
                <a:gd name="T34" fmla="*/ 495 w 4503"/>
                <a:gd name="T35" fmla="*/ 326 h 4450"/>
                <a:gd name="T36" fmla="*/ 474 w 4503"/>
                <a:gd name="T37" fmla="*/ 339 h 4450"/>
                <a:gd name="T38" fmla="*/ 447 w 4503"/>
                <a:gd name="T39" fmla="*/ 355 h 4450"/>
                <a:gd name="T40" fmla="*/ 435 w 4503"/>
                <a:gd name="T41" fmla="*/ 375 h 4450"/>
                <a:gd name="T42" fmla="*/ 424 w 4503"/>
                <a:gd name="T43" fmla="*/ 417 h 4450"/>
                <a:gd name="T44" fmla="*/ 413 w 4503"/>
                <a:gd name="T45" fmla="*/ 439 h 4450"/>
                <a:gd name="T46" fmla="*/ 395 w 4503"/>
                <a:gd name="T47" fmla="*/ 448 h 4450"/>
                <a:gd name="T48" fmla="*/ 364 w 4503"/>
                <a:gd name="T49" fmla="*/ 446 h 4450"/>
                <a:gd name="T50" fmla="*/ 339 w 4503"/>
                <a:gd name="T51" fmla="*/ 446 h 4450"/>
                <a:gd name="T52" fmla="*/ 316 w 4503"/>
                <a:gd name="T53" fmla="*/ 458 h 4450"/>
                <a:gd name="T54" fmla="*/ 281 w 4503"/>
                <a:gd name="T55" fmla="*/ 486 h 4450"/>
                <a:gd name="T56" fmla="*/ 257 w 4503"/>
                <a:gd name="T57" fmla="*/ 494 h 4450"/>
                <a:gd name="T58" fmla="*/ 239 w 4503"/>
                <a:gd name="T59" fmla="*/ 489 h 4450"/>
                <a:gd name="T60" fmla="*/ 213 w 4503"/>
                <a:gd name="T61" fmla="*/ 466 h 4450"/>
                <a:gd name="T62" fmla="*/ 194 w 4503"/>
                <a:gd name="T63" fmla="*/ 456 h 4450"/>
                <a:gd name="T64" fmla="*/ 161 w 4503"/>
                <a:gd name="T65" fmla="*/ 456 h 4450"/>
                <a:gd name="T66" fmla="*/ 122 w 4503"/>
                <a:gd name="T67" fmla="*/ 457 h 4450"/>
                <a:gd name="T68" fmla="*/ 100 w 4503"/>
                <a:gd name="T69" fmla="*/ 449 h 4450"/>
                <a:gd name="T70" fmla="*/ 91 w 4503"/>
                <a:gd name="T71" fmla="*/ 433 h 4450"/>
                <a:gd name="T72" fmla="*/ 84 w 4503"/>
                <a:gd name="T73" fmla="*/ 399 h 4450"/>
                <a:gd name="T74" fmla="*/ 72 w 4503"/>
                <a:gd name="T75" fmla="*/ 381 h 4450"/>
                <a:gd name="T76" fmla="*/ 39 w 4503"/>
                <a:gd name="T77" fmla="*/ 360 h 4450"/>
                <a:gd name="T78" fmla="*/ 13 w 4503"/>
                <a:gd name="T79" fmla="*/ 342 h 4450"/>
                <a:gd name="T80" fmla="*/ 4 w 4503"/>
                <a:gd name="T81" fmla="*/ 323 h 4450"/>
                <a:gd name="T82" fmla="*/ 10 w 4503"/>
                <a:gd name="T83" fmla="*/ 302 h 4450"/>
                <a:gd name="T84" fmla="*/ 24 w 4503"/>
                <a:gd name="T85" fmla="*/ 273 h 4450"/>
                <a:gd name="T86" fmla="*/ 22 w 4503"/>
                <a:gd name="T87" fmla="*/ 251 h 4450"/>
                <a:gd name="T88" fmla="*/ 5 w 4503"/>
                <a:gd name="T89" fmla="*/ 210 h 4450"/>
                <a:gd name="T90" fmla="*/ 0 w 4503"/>
                <a:gd name="T91" fmla="*/ 186 h 4450"/>
                <a:gd name="T92" fmla="*/ 7 w 4503"/>
                <a:gd name="T93" fmla="*/ 167 h 4450"/>
                <a:gd name="T94" fmla="*/ 31 w 4503"/>
                <a:gd name="T95" fmla="*/ 153 h 4450"/>
                <a:gd name="T96" fmla="*/ 55 w 4503"/>
                <a:gd name="T97" fmla="*/ 138 h 4450"/>
                <a:gd name="T98" fmla="*/ 66 w 4503"/>
                <a:gd name="T99" fmla="*/ 117 h 4450"/>
                <a:gd name="T100" fmla="*/ 77 w 4503"/>
                <a:gd name="T101" fmla="*/ 75 h 4450"/>
                <a:gd name="T102" fmla="*/ 90 w 4503"/>
                <a:gd name="T103" fmla="*/ 54 h 4450"/>
                <a:gd name="T104" fmla="*/ 108 w 4503"/>
                <a:gd name="T105" fmla="*/ 46 h 4450"/>
                <a:gd name="T106" fmla="*/ 141 w 4503"/>
                <a:gd name="T107" fmla="*/ 50 h 4450"/>
                <a:gd name="T108" fmla="*/ 164 w 4503"/>
                <a:gd name="T109" fmla="*/ 48 h 4450"/>
                <a:gd name="T110" fmla="*/ 189 w 4503"/>
                <a:gd name="T111" fmla="*/ 33 h 4450"/>
                <a:gd name="T112" fmla="*/ 222 w 4503"/>
                <a:gd name="T113" fmla="*/ 7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96959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5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786824" y="2310695"/>
              <a:ext cx="474695" cy="469316"/>
            </a:xfrm>
            <a:custGeom>
              <a:avLst/>
              <a:gdLst>
                <a:gd name="T0" fmla="*/ 259 w 4503"/>
                <a:gd name="T1" fmla="*/ 4 h 4450"/>
                <a:gd name="T2" fmla="*/ 284 w 4503"/>
                <a:gd name="T3" fmla="*/ 26 h 4450"/>
                <a:gd name="T4" fmla="*/ 303 w 4503"/>
                <a:gd name="T5" fmla="*/ 38 h 4450"/>
                <a:gd name="T6" fmla="*/ 333 w 4503"/>
                <a:gd name="T7" fmla="*/ 40 h 4450"/>
                <a:gd name="T8" fmla="*/ 375 w 4503"/>
                <a:gd name="T9" fmla="*/ 37 h 4450"/>
                <a:gd name="T10" fmla="*/ 399 w 4503"/>
                <a:gd name="T11" fmla="*/ 44 h 4450"/>
                <a:gd name="T12" fmla="*/ 409 w 4503"/>
                <a:gd name="T13" fmla="*/ 60 h 4450"/>
                <a:gd name="T14" fmla="*/ 416 w 4503"/>
                <a:gd name="T15" fmla="*/ 93 h 4450"/>
                <a:gd name="T16" fmla="*/ 426 w 4503"/>
                <a:gd name="T17" fmla="*/ 111 h 4450"/>
                <a:gd name="T18" fmla="*/ 456 w 4503"/>
                <a:gd name="T19" fmla="*/ 131 h 4450"/>
                <a:gd name="T20" fmla="*/ 485 w 4503"/>
                <a:gd name="T21" fmla="*/ 150 h 4450"/>
                <a:gd name="T22" fmla="*/ 496 w 4503"/>
                <a:gd name="T23" fmla="*/ 170 h 4450"/>
                <a:gd name="T24" fmla="*/ 493 w 4503"/>
                <a:gd name="T25" fmla="*/ 188 h 4450"/>
                <a:gd name="T26" fmla="*/ 477 w 4503"/>
                <a:gd name="T27" fmla="*/ 219 h 4450"/>
                <a:gd name="T28" fmla="*/ 477 w 4503"/>
                <a:gd name="T29" fmla="*/ 241 h 4450"/>
                <a:gd name="T30" fmla="*/ 493 w 4503"/>
                <a:gd name="T31" fmla="*/ 279 h 4450"/>
                <a:gd name="T32" fmla="*/ 500 w 4503"/>
                <a:gd name="T33" fmla="*/ 306 h 4450"/>
                <a:gd name="T34" fmla="*/ 495 w 4503"/>
                <a:gd name="T35" fmla="*/ 326 h 4450"/>
                <a:gd name="T36" fmla="*/ 474 w 4503"/>
                <a:gd name="T37" fmla="*/ 339 h 4450"/>
                <a:gd name="T38" fmla="*/ 447 w 4503"/>
                <a:gd name="T39" fmla="*/ 355 h 4450"/>
                <a:gd name="T40" fmla="*/ 435 w 4503"/>
                <a:gd name="T41" fmla="*/ 375 h 4450"/>
                <a:gd name="T42" fmla="*/ 424 w 4503"/>
                <a:gd name="T43" fmla="*/ 417 h 4450"/>
                <a:gd name="T44" fmla="*/ 413 w 4503"/>
                <a:gd name="T45" fmla="*/ 439 h 4450"/>
                <a:gd name="T46" fmla="*/ 395 w 4503"/>
                <a:gd name="T47" fmla="*/ 448 h 4450"/>
                <a:gd name="T48" fmla="*/ 364 w 4503"/>
                <a:gd name="T49" fmla="*/ 446 h 4450"/>
                <a:gd name="T50" fmla="*/ 339 w 4503"/>
                <a:gd name="T51" fmla="*/ 446 h 4450"/>
                <a:gd name="T52" fmla="*/ 316 w 4503"/>
                <a:gd name="T53" fmla="*/ 458 h 4450"/>
                <a:gd name="T54" fmla="*/ 281 w 4503"/>
                <a:gd name="T55" fmla="*/ 486 h 4450"/>
                <a:gd name="T56" fmla="*/ 257 w 4503"/>
                <a:gd name="T57" fmla="*/ 494 h 4450"/>
                <a:gd name="T58" fmla="*/ 239 w 4503"/>
                <a:gd name="T59" fmla="*/ 489 h 4450"/>
                <a:gd name="T60" fmla="*/ 213 w 4503"/>
                <a:gd name="T61" fmla="*/ 466 h 4450"/>
                <a:gd name="T62" fmla="*/ 194 w 4503"/>
                <a:gd name="T63" fmla="*/ 456 h 4450"/>
                <a:gd name="T64" fmla="*/ 161 w 4503"/>
                <a:gd name="T65" fmla="*/ 456 h 4450"/>
                <a:gd name="T66" fmla="*/ 122 w 4503"/>
                <a:gd name="T67" fmla="*/ 457 h 4450"/>
                <a:gd name="T68" fmla="*/ 100 w 4503"/>
                <a:gd name="T69" fmla="*/ 449 h 4450"/>
                <a:gd name="T70" fmla="*/ 91 w 4503"/>
                <a:gd name="T71" fmla="*/ 433 h 4450"/>
                <a:gd name="T72" fmla="*/ 84 w 4503"/>
                <a:gd name="T73" fmla="*/ 399 h 4450"/>
                <a:gd name="T74" fmla="*/ 72 w 4503"/>
                <a:gd name="T75" fmla="*/ 381 h 4450"/>
                <a:gd name="T76" fmla="*/ 39 w 4503"/>
                <a:gd name="T77" fmla="*/ 360 h 4450"/>
                <a:gd name="T78" fmla="*/ 13 w 4503"/>
                <a:gd name="T79" fmla="*/ 342 h 4450"/>
                <a:gd name="T80" fmla="*/ 4 w 4503"/>
                <a:gd name="T81" fmla="*/ 323 h 4450"/>
                <a:gd name="T82" fmla="*/ 10 w 4503"/>
                <a:gd name="T83" fmla="*/ 302 h 4450"/>
                <a:gd name="T84" fmla="*/ 24 w 4503"/>
                <a:gd name="T85" fmla="*/ 273 h 4450"/>
                <a:gd name="T86" fmla="*/ 22 w 4503"/>
                <a:gd name="T87" fmla="*/ 251 h 4450"/>
                <a:gd name="T88" fmla="*/ 5 w 4503"/>
                <a:gd name="T89" fmla="*/ 210 h 4450"/>
                <a:gd name="T90" fmla="*/ 0 w 4503"/>
                <a:gd name="T91" fmla="*/ 186 h 4450"/>
                <a:gd name="T92" fmla="*/ 7 w 4503"/>
                <a:gd name="T93" fmla="*/ 167 h 4450"/>
                <a:gd name="T94" fmla="*/ 31 w 4503"/>
                <a:gd name="T95" fmla="*/ 153 h 4450"/>
                <a:gd name="T96" fmla="*/ 55 w 4503"/>
                <a:gd name="T97" fmla="*/ 138 h 4450"/>
                <a:gd name="T98" fmla="*/ 66 w 4503"/>
                <a:gd name="T99" fmla="*/ 117 h 4450"/>
                <a:gd name="T100" fmla="*/ 77 w 4503"/>
                <a:gd name="T101" fmla="*/ 75 h 4450"/>
                <a:gd name="T102" fmla="*/ 90 w 4503"/>
                <a:gd name="T103" fmla="*/ 54 h 4450"/>
                <a:gd name="T104" fmla="*/ 108 w 4503"/>
                <a:gd name="T105" fmla="*/ 46 h 4450"/>
                <a:gd name="T106" fmla="*/ 141 w 4503"/>
                <a:gd name="T107" fmla="*/ 50 h 4450"/>
                <a:gd name="T108" fmla="*/ 164 w 4503"/>
                <a:gd name="T109" fmla="*/ 48 h 4450"/>
                <a:gd name="T110" fmla="*/ 189 w 4503"/>
                <a:gd name="T111" fmla="*/ 33 h 4450"/>
                <a:gd name="T112" fmla="*/ 222 w 4503"/>
                <a:gd name="T113" fmla="*/ 7 h 44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503" h="4450">
                  <a:moveTo>
                    <a:pt x="2186" y="2"/>
                  </a:moveTo>
                  <a:lnTo>
                    <a:pt x="2207" y="0"/>
                  </a:lnTo>
                  <a:lnTo>
                    <a:pt x="2226" y="2"/>
                  </a:lnTo>
                  <a:lnTo>
                    <a:pt x="2244" y="5"/>
                  </a:lnTo>
                  <a:lnTo>
                    <a:pt x="2263" y="9"/>
                  </a:lnTo>
                  <a:lnTo>
                    <a:pt x="2281" y="14"/>
                  </a:lnTo>
                  <a:lnTo>
                    <a:pt x="2299" y="22"/>
                  </a:lnTo>
                  <a:lnTo>
                    <a:pt x="2316" y="30"/>
                  </a:lnTo>
                  <a:lnTo>
                    <a:pt x="2332" y="39"/>
                  </a:lnTo>
                  <a:lnTo>
                    <a:pt x="2350" y="50"/>
                  </a:lnTo>
                  <a:lnTo>
                    <a:pt x="2366" y="61"/>
                  </a:lnTo>
                  <a:lnTo>
                    <a:pt x="2382" y="74"/>
                  </a:lnTo>
                  <a:lnTo>
                    <a:pt x="2398" y="87"/>
                  </a:lnTo>
                  <a:lnTo>
                    <a:pt x="2429" y="113"/>
                  </a:lnTo>
                  <a:lnTo>
                    <a:pt x="2460" y="142"/>
                  </a:lnTo>
                  <a:lnTo>
                    <a:pt x="2492" y="173"/>
                  </a:lnTo>
                  <a:lnTo>
                    <a:pt x="2523" y="203"/>
                  </a:lnTo>
                  <a:lnTo>
                    <a:pt x="2554" y="233"/>
                  </a:lnTo>
                  <a:lnTo>
                    <a:pt x="2587" y="261"/>
                  </a:lnTo>
                  <a:lnTo>
                    <a:pt x="2604" y="274"/>
                  </a:lnTo>
                  <a:lnTo>
                    <a:pt x="2621" y="285"/>
                  </a:lnTo>
                  <a:lnTo>
                    <a:pt x="2637" y="297"/>
                  </a:lnTo>
                  <a:lnTo>
                    <a:pt x="2655" y="308"/>
                  </a:lnTo>
                  <a:lnTo>
                    <a:pt x="2672" y="318"/>
                  </a:lnTo>
                  <a:lnTo>
                    <a:pt x="2691" y="326"/>
                  </a:lnTo>
                  <a:lnTo>
                    <a:pt x="2710" y="334"/>
                  </a:lnTo>
                  <a:lnTo>
                    <a:pt x="2729" y="340"/>
                  </a:lnTo>
                  <a:lnTo>
                    <a:pt x="2754" y="347"/>
                  </a:lnTo>
                  <a:lnTo>
                    <a:pt x="2780" y="351"/>
                  </a:lnTo>
                  <a:lnTo>
                    <a:pt x="2807" y="355"/>
                  </a:lnTo>
                  <a:lnTo>
                    <a:pt x="2833" y="357"/>
                  </a:lnTo>
                  <a:lnTo>
                    <a:pt x="2860" y="360"/>
                  </a:lnTo>
                  <a:lnTo>
                    <a:pt x="2886" y="360"/>
                  </a:lnTo>
                  <a:lnTo>
                    <a:pt x="2913" y="360"/>
                  </a:lnTo>
                  <a:lnTo>
                    <a:pt x="2940" y="360"/>
                  </a:lnTo>
                  <a:lnTo>
                    <a:pt x="2996" y="356"/>
                  </a:lnTo>
                  <a:lnTo>
                    <a:pt x="3051" y="351"/>
                  </a:lnTo>
                  <a:lnTo>
                    <a:pt x="3106" y="345"/>
                  </a:lnTo>
                  <a:lnTo>
                    <a:pt x="3162" y="339"/>
                  </a:lnTo>
                  <a:lnTo>
                    <a:pt x="3217" y="334"/>
                  </a:lnTo>
                  <a:lnTo>
                    <a:pt x="3270" y="331"/>
                  </a:lnTo>
                  <a:lnTo>
                    <a:pt x="3297" y="330"/>
                  </a:lnTo>
                  <a:lnTo>
                    <a:pt x="3324" y="330"/>
                  </a:lnTo>
                  <a:lnTo>
                    <a:pt x="3350" y="330"/>
                  </a:lnTo>
                  <a:lnTo>
                    <a:pt x="3377" y="331"/>
                  </a:lnTo>
                  <a:lnTo>
                    <a:pt x="3403" y="334"/>
                  </a:lnTo>
                  <a:lnTo>
                    <a:pt x="3428" y="337"/>
                  </a:lnTo>
                  <a:lnTo>
                    <a:pt x="3452" y="341"/>
                  </a:lnTo>
                  <a:lnTo>
                    <a:pt x="3477" y="348"/>
                  </a:lnTo>
                  <a:lnTo>
                    <a:pt x="3502" y="355"/>
                  </a:lnTo>
                  <a:lnTo>
                    <a:pt x="3525" y="364"/>
                  </a:lnTo>
                  <a:lnTo>
                    <a:pt x="3549" y="375"/>
                  </a:lnTo>
                  <a:lnTo>
                    <a:pt x="3572" y="387"/>
                  </a:lnTo>
                  <a:lnTo>
                    <a:pt x="3588" y="397"/>
                  </a:lnTo>
                  <a:lnTo>
                    <a:pt x="3603" y="409"/>
                  </a:lnTo>
                  <a:lnTo>
                    <a:pt x="3617" y="422"/>
                  </a:lnTo>
                  <a:lnTo>
                    <a:pt x="3629" y="436"/>
                  </a:lnTo>
                  <a:lnTo>
                    <a:pt x="3639" y="451"/>
                  </a:lnTo>
                  <a:lnTo>
                    <a:pt x="3650" y="466"/>
                  </a:lnTo>
                  <a:lnTo>
                    <a:pt x="3659" y="482"/>
                  </a:lnTo>
                  <a:lnTo>
                    <a:pt x="3666" y="499"/>
                  </a:lnTo>
                  <a:lnTo>
                    <a:pt x="3674" y="518"/>
                  </a:lnTo>
                  <a:lnTo>
                    <a:pt x="3679" y="536"/>
                  </a:lnTo>
                  <a:lnTo>
                    <a:pt x="3686" y="554"/>
                  </a:lnTo>
                  <a:lnTo>
                    <a:pt x="3690" y="574"/>
                  </a:lnTo>
                  <a:lnTo>
                    <a:pt x="3699" y="613"/>
                  </a:lnTo>
                  <a:lnTo>
                    <a:pt x="3706" y="655"/>
                  </a:lnTo>
                  <a:lnTo>
                    <a:pt x="3713" y="696"/>
                  </a:lnTo>
                  <a:lnTo>
                    <a:pt x="3719" y="738"/>
                  </a:lnTo>
                  <a:lnTo>
                    <a:pt x="3727" y="780"/>
                  </a:lnTo>
                  <a:lnTo>
                    <a:pt x="3735" y="821"/>
                  </a:lnTo>
                  <a:lnTo>
                    <a:pt x="3741" y="840"/>
                  </a:lnTo>
                  <a:lnTo>
                    <a:pt x="3747" y="860"/>
                  </a:lnTo>
                  <a:lnTo>
                    <a:pt x="3753" y="879"/>
                  </a:lnTo>
                  <a:lnTo>
                    <a:pt x="3761" y="897"/>
                  </a:lnTo>
                  <a:lnTo>
                    <a:pt x="3770" y="916"/>
                  </a:lnTo>
                  <a:lnTo>
                    <a:pt x="3778" y="933"/>
                  </a:lnTo>
                  <a:lnTo>
                    <a:pt x="3789" y="949"/>
                  </a:lnTo>
                  <a:lnTo>
                    <a:pt x="3801" y="965"/>
                  </a:lnTo>
                  <a:lnTo>
                    <a:pt x="3818" y="984"/>
                  </a:lnTo>
                  <a:lnTo>
                    <a:pt x="3835" y="1003"/>
                  </a:lnTo>
                  <a:lnTo>
                    <a:pt x="3855" y="1021"/>
                  </a:lnTo>
                  <a:lnTo>
                    <a:pt x="3874" y="1037"/>
                  </a:lnTo>
                  <a:lnTo>
                    <a:pt x="3894" y="1053"/>
                  </a:lnTo>
                  <a:lnTo>
                    <a:pt x="3916" y="1069"/>
                  </a:lnTo>
                  <a:lnTo>
                    <a:pt x="3937" y="1084"/>
                  </a:lnTo>
                  <a:lnTo>
                    <a:pt x="3960" y="1100"/>
                  </a:lnTo>
                  <a:lnTo>
                    <a:pt x="4006" y="1127"/>
                  </a:lnTo>
                  <a:lnTo>
                    <a:pt x="4055" y="1154"/>
                  </a:lnTo>
                  <a:lnTo>
                    <a:pt x="4103" y="1180"/>
                  </a:lnTo>
                  <a:lnTo>
                    <a:pt x="4150" y="1206"/>
                  </a:lnTo>
                  <a:lnTo>
                    <a:pt x="4199" y="1233"/>
                  </a:lnTo>
                  <a:lnTo>
                    <a:pt x="4244" y="1261"/>
                  </a:lnTo>
                  <a:lnTo>
                    <a:pt x="4267" y="1275"/>
                  </a:lnTo>
                  <a:lnTo>
                    <a:pt x="4288" y="1289"/>
                  </a:lnTo>
                  <a:lnTo>
                    <a:pt x="4310" y="1305"/>
                  </a:lnTo>
                  <a:lnTo>
                    <a:pt x="4330" y="1320"/>
                  </a:lnTo>
                  <a:lnTo>
                    <a:pt x="4349" y="1337"/>
                  </a:lnTo>
                  <a:lnTo>
                    <a:pt x="4368" y="1353"/>
                  </a:lnTo>
                  <a:lnTo>
                    <a:pt x="4385" y="1372"/>
                  </a:lnTo>
                  <a:lnTo>
                    <a:pt x="4401" y="1390"/>
                  </a:lnTo>
                  <a:lnTo>
                    <a:pt x="4416" y="1410"/>
                  </a:lnTo>
                  <a:lnTo>
                    <a:pt x="4429" y="1431"/>
                  </a:lnTo>
                  <a:lnTo>
                    <a:pt x="4442" y="1452"/>
                  </a:lnTo>
                  <a:lnTo>
                    <a:pt x="4453" y="1475"/>
                  </a:lnTo>
                  <a:lnTo>
                    <a:pt x="4459" y="1492"/>
                  </a:lnTo>
                  <a:lnTo>
                    <a:pt x="4464" y="1510"/>
                  </a:lnTo>
                  <a:lnTo>
                    <a:pt x="4468" y="1529"/>
                  </a:lnTo>
                  <a:lnTo>
                    <a:pt x="4469" y="1546"/>
                  </a:lnTo>
                  <a:lnTo>
                    <a:pt x="4469" y="1564"/>
                  </a:lnTo>
                  <a:lnTo>
                    <a:pt x="4467" y="1582"/>
                  </a:lnTo>
                  <a:lnTo>
                    <a:pt x="4464" y="1601"/>
                  </a:lnTo>
                  <a:lnTo>
                    <a:pt x="4460" y="1619"/>
                  </a:lnTo>
                  <a:lnTo>
                    <a:pt x="4455" y="1637"/>
                  </a:lnTo>
                  <a:lnTo>
                    <a:pt x="4448" y="1655"/>
                  </a:lnTo>
                  <a:lnTo>
                    <a:pt x="4441" y="1674"/>
                  </a:lnTo>
                  <a:lnTo>
                    <a:pt x="4433" y="1693"/>
                  </a:lnTo>
                  <a:lnTo>
                    <a:pt x="4415" y="1730"/>
                  </a:lnTo>
                  <a:lnTo>
                    <a:pt x="4396" y="1767"/>
                  </a:lnTo>
                  <a:lnTo>
                    <a:pt x="4375" y="1805"/>
                  </a:lnTo>
                  <a:lnTo>
                    <a:pt x="4355" y="1843"/>
                  </a:lnTo>
                  <a:lnTo>
                    <a:pt x="4335" y="1880"/>
                  </a:lnTo>
                  <a:lnTo>
                    <a:pt x="4317" y="1918"/>
                  </a:lnTo>
                  <a:lnTo>
                    <a:pt x="4310" y="1937"/>
                  </a:lnTo>
                  <a:lnTo>
                    <a:pt x="4302" y="1957"/>
                  </a:lnTo>
                  <a:lnTo>
                    <a:pt x="4296" y="1975"/>
                  </a:lnTo>
                  <a:lnTo>
                    <a:pt x="4290" y="1994"/>
                  </a:lnTo>
                  <a:lnTo>
                    <a:pt x="4286" y="2014"/>
                  </a:lnTo>
                  <a:lnTo>
                    <a:pt x="4283" y="2033"/>
                  </a:lnTo>
                  <a:lnTo>
                    <a:pt x="4282" y="2052"/>
                  </a:lnTo>
                  <a:lnTo>
                    <a:pt x="4282" y="2072"/>
                  </a:lnTo>
                  <a:lnTo>
                    <a:pt x="4283" y="2096"/>
                  </a:lnTo>
                  <a:lnTo>
                    <a:pt x="4286" y="2121"/>
                  </a:lnTo>
                  <a:lnTo>
                    <a:pt x="4290" y="2146"/>
                  </a:lnTo>
                  <a:lnTo>
                    <a:pt x="4296" y="2171"/>
                  </a:lnTo>
                  <a:lnTo>
                    <a:pt x="4302" y="2195"/>
                  </a:lnTo>
                  <a:lnTo>
                    <a:pt x="4310" y="2220"/>
                  </a:lnTo>
                  <a:lnTo>
                    <a:pt x="4318" y="2245"/>
                  </a:lnTo>
                  <a:lnTo>
                    <a:pt x="4327" y="2270"/>
                  </a:lnTo>
                  <a:lnTo>
                    <a:pt x="4347" y="2318"/>
                  </a:lnTo>
                  <a:lnTo>
                    <a:pt x="4369" y="2366"/>
                  </a:lnTo>
                  <a:lnTo>
                    <a:pt x="4392" y="2415"/>
                  </a:lnTo>
                  <a:lnTo>
                    <a:pt x="4415" y="2463"/>
                  </a:lnTo>
                  <a:lnTo>
                    <a:pt x="4437" y="2511"/>
                  </a:lnTo>
                  <a:lnTo>
                    <a:pt x="4457" y="2559"/>
                  </a:lnTo>
                  <a:lnTo>
                    <a:pt x="4467" y="2584"/>
                  </a:lnTo>
                  <a:lnTo>
                    <a:pt x="4475" y="2607"/>
                  </a:lnTo>
                  <a:lnTo>
                    <a:pt x="4483" y="2631"/>
                  </a:lnTo>
                  <a:lnTo>
                    <a:pt x="4489" y="2656"/>
                  </a:lnTo>
                  <a:lnTo>
                    <a:pt x="4495" y="2679"/>
                  </a:lnTo>
                  <a:lnTo>
                    <a:pt x="4499" y="2704"/>
                  </a:lnTo>
                  <a:lnTo>
                    <a:pt x="4502" y="2728"/>
                  </a:lnTo>
                  <a:lnTo>
                    <a:pt x="4503" y="2751"/>
                  </a:lnTo>
                  <a:lnTo>
                    <a:pt x="4503" y="2776"/>
                  </a:lnTo>
                  <a:lnTo>
                    <a:pt x="4502" y="2801"/>
                  </a:lnTo>
                  <a:lnTo>
                    <a:pt x="4499" y="2824"/>
                  </a:lnTo>
                  <a:lnTo>
                    <a:pt x="4494" y="2849"/>
                  </a:lnTo>
                  <a:lnTo>
                    <a:pt x="4487" y="2867"/>
                  </a:lnTo>
                  <a:lnTo>
                    <a:pt x="4481" y="2885"/>
                  </a:lnTo>
                  <a:lnTo>
                    <a:pt x="4472" y="2901"/>
                  </a:lnTo>
                  <a:lnTo>
                    <a:pt x="4462" y="2916"/>
                  </a:lnTo>
                  <a:lnTo>
                    <a:pt x="4451" y="2931"/>
                  </a:lnTo>
                  <a:lnTo>
                    <a:pt x="4438" y="2945"/>
                  </a:lnTo>
                  <a:lnTo>
                    <a:pt x="4425" y="2958"/>
                  </a:lnTo>
                  <a:lnTo>
                    <a:pt x="4410" y="2971"/>
                  </a:lnTo>
                  <a:lnTo>
                    <a:pt x="4395" y="2982"/>
                  </a:lnTo>
                  <a:lnTo>
                    <a:pt x="4377" y="2993"/>
                  </a:lnTo>
                  <a:lnTo>
                    <a:pt x="4360" y="3004"/>
                  </a:lnTo>
                  <a:lnTo>
                    <a:pt x="4343" y="3015"/>
                  </a:lnTo>
                  <a:lnTo>
                    <a:pt x="4305" y="3035"/>
                  </a:lnTo>
                  <a:lnTo>
                    <a:pt x="4267" y="3055"/>
                  </a:lnTo>
                  <a:lnTo>
                    <a:pt x="4227" y="3073"/>
                  </a:lnTo>
                  <a:lnTo>
                    <a:pt x="4187" y="3092"/>
                  </a:lnTo>
                  <a:lnTo>
                    <a:pt x="4148" y="3112"/>
                  </a:lnTo>
                  <a:lnTo>
                    <a:pt x="4111" y="3133"/>
                  </a:lnTo>
                  <a:lnTo>
                    <a:pt x="4092" y="3144"/>
                  </a:lnTo>
                  <a:lnTo>
                    <a:pt x="4074" y="3155"/>
                  </a:lnTo>
                  <a:lnTo>
                    <a:pt x="4058" y="3167"/>
                  </a:lnTo>
                  <a:lnTo>
                    <a:pt x="4042" y="3179"/>
                  </a:lnTo>
                  <a:lnTo>
                    <a:pt x="4026" y="3192"/>
                  </a:lnTo>
                  <a:lnTo>
                    <a:pt x="4012" y="3206"/>
                  </a:lnTo>
                  <a:lnTo>
                    <a:pt x="3999" y="3221"/>
                  </a:lnTo>
                  <a:lnTo>
                    <a:pt x="3987" y="3237"/>
                  </a:lnTo>
                  <a:lnTo>
                    <a:pt x="3972" y="3258"/>
                  </a:lnTo>
                  <a:lnTo>
                    <a:pt x="3959" y="3279"/>
                  </a:lnTo>
                  <a:lnTo>
                    <a:pt x="3947" y="3302"/>
                  </a:lnTo>
                  <a:lnTo>
                    <a:pt x="3936" y="3326"/>
                  </a:lnTo>
                  <a:lnTo>
                    <a:pt x="3927" y="3349"/>
                  </a:lnTo>
                  <a:lnTo>
                    <a:pt x="3917" y="3373"/>
                  </a:lnTo>
                  <a:lnTo>
                    <a:pt x="3909" y="3398"/>
                  </a:lnTo>
                  <a:lnTo>
                    <a:pt x="3901" y="3422"/>
                  </a:lnTo>
                  <a:lnTo>
                    <a:pt x="3888" y="3474"/>
                  </a:lnTo>
                  <a:lnTo>
                    <a:pt x="3875" y="3526"/>
                  </a:lnTo>
                  <a:lnTo>
                    <a:pt x="3864" y="3577"/>
                  </a:lnTo>
                  <a:lnTo>
                    <a:pt x="3852" y="3629"/>
                  </a:lnTo>
                  <a:lnTo>
                    <a:pt x="3841" y="3680"/>
                  </a:lnTo>
                  <a:lnTo>
                    <a:pt x="3828" y="3731"/>
                  </a:lnTo>
                  <a:lnTo>
                    <a:pt x="3820" y="3755"/>
                  </a:lnTo>
                  <a:lnTo>
                    <a:pt x="3813" y="3779"/>
                  </a:lnTo>
                  <a:lnTo>
                    <a:pt x="3803" y="3803"/>
                  </a:lnTo>
                  <a:lnTo>
                    <a:pt x="3794" y="3827"/>
                  </a:lnTo>
                  <a:lnTo>
                    <a:pt x="3784" y="3849"/>
                  </a:lnTo>
                  <a:lnTo>
                    <a:pt x="3772" y="3871"/>
                  </a:lnTo>
                  <a:lnTo>
                    <a:pt x="3760" y="3892"/>
                  </a:lnTo>
                  <a:lnTo>
                    <a:pt x="3746" y="3913"/>
                  </a:lnTo>
                  <a:lnTo>
                    <a:pt x="3731" y="3932"/>
                  </a:lnTo>
                  <a:lnTo>
                    <a:pt x="3715" y="3950"/>
                  </a:lnTo>
                  <a:lnTo>
                    <a:pt x="3698" y="3969"/>
                  </a:lnTo>
                  <a:lnTo>
                    <a:pt x="3678" y="3986"/>
                  </a:lnTo>
                  <a:lnTo>
                    <a:pt x="3662" y="3998"/>
                  </a:lnTo>
                  <a:lnTo>
                    <a:pt x="3646" y="4007"/>
                  </a:lnTo>
                  <a:lnTo>
                    <a:pt x="3629" y="4016"/>
                  </a:lnTo>
                  <a:lnTo>
                    <a:pt x="3610" y="4022"/>
                  </a:lnTo>
                  <a:lnTo>
                    <a:pt x="3593" y="4028"/>
                  </a:lnTo>
                  <a:lnTo>
                    <a:pt x="3574" y="4032"/>
                  </a:lnTo>
                  <a:lnTo>
                    <a:pt x="3556" y="4035"/>
                  </a:lnTo>
                  <a:lnTo>
                    <a:pt x="3535" y="4037"/>
                  </a:lnTo>
                  <a:lnTo>
                    <a:pt x="3516" y="4039"/>
                  </a:lnTo>
                  <a:lnTo>
                    <a:pt x="3495" y="4039"/>
                  </a:lnTo>
                  <a:lnTo>
                    <a:pt x="3475" y="4037"/>
                  </a:lnTo>
                  <a:lnTo>
                    <a:pt x="3454" y="4035"/>
                  </a:lnTo>
                  <a:lnTo>
                    <a:pt x="3411" y="4031"/>
                  </a:lnTo>
                  <a:lnTo>
                    <a:pt x="3368" y="4025"/>
                  </a:lnTo>
                  <a:lnTo>
                    <a:pt x="3324" y="4018"/>
                  </a:lnTo>
                  <a:lnTo>
                    <a:pt x="3280" y="4012"/>
                  </a:lnTo>
                  <a:lnTo>
                    <a:pt x="3237" y="4005"/>
                  </a:lnTo>
                  <a:lnTo>
                    <a:pt x="3193" y="4001"/>
                  </a:lnTo>
                  <a:lnTo>
                    <a:pt x="3172" y="4000"/>
                  </a:lnTo>
                  <a:lnTo>
                    <a:pt x="3151" y="3999"/>
                  </a:lnTo>
                  <a:lnTo>
                    <a:pt x="3130" y="3999"/>
                  </a:lnTo>
                  <a:lnTo>
                    <a:pt x="3109" y="4000"/>
                  </a:lnTo>
                  <a:lnTo>
                    <a:pt x="3089" y="4002"/>
                  </a:lnTo>
                  <a:lnTo>
                    <a:pt x="3068" y="4006"/>
                  </a:lnTo>
                  <a:lnTo>
                    <a:pt x="3049" y="4011"/>
                  </a:lnTo>
                  <a:lnTo>
                    <a:pt x="3030" y="4016"/>
                  </a:lnTo>
                  <a:lnTo>
                    <a:pt x="3005" y="4026"/>
                  </a:lnTo>
                  <a:lnTo>
                    <a:pt x="2980" y="4035"/>
                  </a:lnTo>
                  <a:lnTo>
                    <a:pt x="2957" y="4047"/>
                  </a:lnTo>
                  <a:lnTo>
                    <a:pt x="2934" y="4060"/>
                  </a:lnTo>
                  <a:lnTo>
                    <a:pt x="2911" y="4073"/>
                  </a:lnTo>
                  <a:lnTo>
                    <a:pt x="2889" y="4088"/>
                  </a:lnTo>
                  <a:lnTo>
                    <a:pt x="2867" y="4103"/>
                  </a:lnTo>
                  <a:lnTo>
                    <a:pt x="2846" y="4119"/>
                  </a:lnTo>
                  <a:lnTo>
                    <a:pt x="2804" y="4152"/>
                  </a:lnTo>
                  <a:lnTo>
                    <a:pt x="2762" y="4188"/>
                  </a:lnTo>
                  <a:lnTo>
                    <a:pt x="2721" y="4223"/>
                  </a:lnTo>
                  <a:lnTo>
                    <a:pt x="2679" y="4259"/>
                  </a:lnTo>
                  <a:lnTo>
                    <a:pt x="2638" y="4293"/>
                  </a:lnTo>
                  <a:lnTo>
                    <a:pt x="2596" y="4327"/>
                  </a:lnTo>
                  <a:lnTo>
                    <a:pt x="2575" y="4343"/>
                  </a:lnTo>
                  <a:lnTo>
                    <a:pt x="2554" y="4358"/>
                  </a:lnTo>
                  <a:lnTo>
                    <a:pt x="2531" y="4372"/>
                  </a:lnTo>
                  <a:lnTo>
                    <a:pt x="2510" y="4386"/>
                  </a:lnTo>
                  <a:lnTo>
                    <a:pt x="2487" y="4399"/>
                  </a:lnTo>
                  <a:lnTo>
                    <a:pt x="2465" y="4410"/>
                  </a:lnTo>
                  <a:lnTo>
                    <a:pt x="2441" y="4420"/>
                  </a:lnTo>
                  <a:lnTo>
                    <a:pt x="2417" y="4429"/>
                  </a:lnTo>
                  <a:lnTo>
                    <a:pt x="2394" y="4436"/>
                  </a:lnTo>
                  <a:lnTo>
                    <a:pt x="2369" y="4443"/>
                  </a:lnTo>
                  <a:lnTo>
                    <a:pt x="2343" y="4447"/>
                  </a:lnTo>
                  <a:lnTo>
                    <a:pt x="2317" y="4449"/>
                  </a:lnTo>
                  <a:lnTo>
                    <a:pt x="2298" y="4450"/>
                  </a:lnTo>
                  <a:lnTo>
                    <a:pt x="2279" y="4449"/>
                  </a:lnTo>
                  <a:lnTo>
                    <a:pt x="2259" y="4447"/>
                  </a:lnTo>
                  <a:lnTo>
                    <a:pt x="2241" y="4443"/>
                  </a:lnTo>
                  <a:lnTo>
                    <a:pt x="2223" y="4436"/>
                  </a:lnTo>
                  <a:lnTo>
                    <a:pt x="2206" y="4430"/>
                  </a:lnTo>
                  <a:lnTo>
                    <a:pt x="2188" y="4421"/>
                  </a:lnTo>
                  <a:lnTo>
                    <a:pt x="2171" y="4412"/>
                  </a:lnTo>
                  <a:lnTo>
                    <a:pt x="2154" y="4402"/>
                  </a:lnTo>
                  <a:lnTo>
                    <a:pt x="2138" y="4390"/>
                  </a:lnTo>
                  <a:lnTo>
                    <a:pt x="2122" y="4378"/>
                  </a:lnTo>
                  <a:lnTo>
                    <a:pt x="2106" y="4365"/>
                  </a:lnTo>
                  <a:lnTo>
                    <a:pt x="2074" y="4337"/>
                  </a:lnTo>
                  <a:lnTo>
                    <a:pt x="2043" y="4308"/>
                  </a:lnTo>
                  <a:lnTo>
                    <a:pt x="2012" y="4278"/>
                  </a:lnTo>
                  <a:lnTo>
                    <a:pt x="1981" y="4248"/>
                  </a:lnTo>
                  <a:lnTo>
                    <a:pt x="1950" y="4219"/>
                  </a:lnTo>
                  <a:lnTo>
                    <a:pt x="1917" y="4191"/>
                  </a:lnTo>
                  <a:lnTo>
                    <a:pt x="1900" y="4178"/>
                  </a:lnTo>
                  <a:lnTo>
                    <a:pt x="1884" y="4165"/>
                  </a:lnTo>
                  <a:lnTo>
                    <a:pt x="1867" y="4154"/>
                  </a:lnTo>
                  <a:lnTo>
                    <a:pt x="1849" y="4143"/>
                  </a:lnTo>
                  <a:lnTo>
                    <a:pt x="1831" y="4133"/>
                  </a:lnTo>
                  <a:lnTo>
                    <a:pt x="1813" y="4125"/>
                  </a:lnTo>
                  <a:lnTo>
                    <a:pt x="1795" y="4118"/>
                  </a:lnTo>
                  <a:lnTo>
                    <a:pt x="1775" y="4112"/>
                  </a:lnTo>
                  <a:lnTo>
                    <a:pt x="1749" y="4105"/>
                  </a:lnTo>
                  <a:lnTo>
                    <a:pt x="1724" y="4100"/>
                  </a:lnTo>
                  <a:lnTo>
                    <a:pt x="1698" y="4097"/>
                  </a:lnTo>
                  <a:lnTo>
                    <a:pt x="1671" y="4093"/>
                  </a:lnTo>
                  <a:lnTo>
                    <a:pt x="1644" y="4092"/>
                  </a:lnTo>
                  <a:lnTo>
                    <a:pt x="1617" y="4091"/>
                  </a:lnTo>
                  <a:lnTo>
                    <a:pt x="1590" y="4091"/>
                  </a:lnTo>
                  <a:lnTo>
                    <a:pt x="1563" y="4092"/>
                  </a:lnTo>
                  <a:lnTo>
                    <a:pt x="1509" y="4095"/>
                  </a:lnTo>
                  <a:lnTo>
                    <a:pt x="1453" y="4101"/>
                  </a:lnTo>
                  <a:lnTo>
                    <a:pt x="1398" y="4106"/>
                  </a:lnTo>
                  <a:lnTo>
                    <a:pt x="1343" y="4113"/>
                  </a:lnTo>
                  <a:lnTo>
                    <a:pt x="1288" y="4117"/>
                  </a:lnTo>
                  <a:lnTo>
                    <a:pt x="1233" y="4121"/>
                  </a:lnTo>
                  <a:lnTo>
                    <a:pt x="1206" y="4122"/>
                  </a:lnTo>
                  <a:lnTo>
                    <a:pt x="1179" y="4122"/>
                  </a:lnTo>
                  <a:lnTo>
                    <a:pt x="1154" y="4121"/>
                  </a:lnTo>
                  <a:lnTo>
                    <a:pt x="1128" y="4120"/>
                  </a:lnTo>
                  <a:lnTo>
                    <a:pt x="1102" y="4118"/>
                  </a:lnTo>
                  <a:lnTo>
                    <a:pt x="1076" y="4115"/>
                  </a:lnTo>
                  <a:lnTo>
                    <a:pt x="1051" y="4109"/>
                  </a:lnTo>
                  <a:lnTo>
                    <a:pt x="1027" y="4104"/>
                  </a:lnTo>
                  <a:lnTo>
                    <a:pt x="1002" y="4097"/>
                  </a:lnTo>
                  <a:lnTo>
                    <a:pt x="978" y="4087"/>
                  </a:lnTo>
                  <a:lnTo>
                    <a:pt x="956" y="4077"/>
                  </a:lnTo>
                  <a:lnTo>
                    <a:pt x="933" y="4064"/>
                  </a:lnTo>
                  <a:lnTo>
                    <a:pt x="916" y="4054"/>
                  </a:lnTo>
                  <a:lnTo>
                    <a:pt x="901" y="4042"/>
                  </a:lnTo>
                  <a:lnTo>
                    <a:pt x="888" y="4029"/>
                  </a:lnTo>
                  <a:lnTo>
                    <a:pt x="875" y="4016"/>
                  </a:lnTo>
                  <a:lnTo>
                    <a:pt x="864" y="4001"/>
                  </a:lnTo>
                  <a:lnTo>
                    <a:pt x="854" y="3986"/>
                  </a:lnTo>
                  <a:lnTo>
                    <a:pt x="845" y="3969"/>
                  </a:lnTo>
                  <a:lnTo>
                    <a:pt x="837" y="3951"/>
                  </a:lnTo>
                  <a:lnTo>
                    <a:pt x="831" y="3934"/>
                  </a:lnTo>
                  <a:lnTo>
                    <a:pt x="824" y="3916"/>
                  </a:lnTo>
                  <a:lnTo>
                    <a:pt x="819" y="3897"/>
                  </a:lnTo>
                  <a:lnTo>
                    <a:pt x="814" y="3877"/>
                  </a:lnTo>
                  <a:lnTo>
                    <a:pt x="805" y="3837"/>
                  </a:lnTo>
                  <a:lnTo>
                    <a:pt x="799" y="3797"/>
                  </a:lnTo>
                  <a:lnTo>
                    <a:pt x="791" y="3755"/>
                  </a:lnTo>
                  <a:lnTo>
                    <a:pt x="785" y="3713"/>
                  </a:lnTo>
                  <a:lnTo>
                    <a:pt x="777" y="3671"/>
                  </a:lnTo>
                  <a:lnTo>
                    <a:pt x="768" y="3631"/>
                  </a:lnTo>
                  <a:lnTo>
                    <a:pt x="763" y="3611"/>
                  </a:lnTo>
                  <a:lnTo>
                    <a:pt x="758" y="3591"/>
                  </a:lnTo>
                  <a:lnTo>
                    <a:pt x="750" y="3572"/>
                  </a:lnTo>
                  <a:lnTo>
                    <a:pt x="743" y="3554"/>
                  </a:lnTo>
                  <a:lnTo>
                    <a:pt x="735" y="3536"/>
                  </a:lnTo>
                  <a:lnTo>
                    <a:pt x="725" y="3519"/>
                  </a:lnTo>
                  <a:lnTo>
                    <a:pt x="715" y="3502"/>
                  </a:lnTo>
                  <a:lnTo>
                    <a:pt x="703" y="3487"/>
                  </a:lnTo>
                  <a:lnTo>
                    <a:pt x="687" y="3467"/>
                  </a:lnTo>
                  <a:lnTo>
                    <a:pt x="668" y="3448"/>
                  </a:lnTo>
                  <a:lnTo>
                    <a:pt x="650" y="3431"/>
                  </a:lnTo>
                  <a:lnTo>
                    <a:pt x="630" y="3414"/>
                  </a:lnTo>
                  <a:lnTo>
                    <a:pt x="609" y="3398"/>
                  </a:lnTo>
                  <a:lnTo>
                    <a:pt x="588" y="3383"/>
                  </a:lnTo>
                  <a:lnTo>
                    <a:pt x="566" y="3366"/>
                  </a:lnTo>
                  <a:lnTo>
                    <a:pt x="544" y="3352"/>
                  </a:lnTo>
                  <a:lnTo>
                    <a:pt x="497" y="3324"/>
                  </a:lnTo>
                  <a:lnTo>
                    <a:pt x="450" y="3298"/>
                  </a:lnTo>
                  <a:lnTo>
                    <a:pt x="402" y="3271"/>
                  </a:lnTo>
                  <a:lnTo>
                    <a:pt x="353" y="3245"/>
                  </a:lnTo>
                  <a:lnTo>
                    <a:pt x="306" y="3218"/>
                  </a:lnTo>
                  <a:lnTo>
                    <a:pt x="260" y="3191"/>
                  </a:lnTo>
                  <a:lnTo>
                    <a:pt x="237" y="3177"/>
                  </a:lnTo>
                  <a:lnTo>
                    <a:pt x="216" y="3162"/>
                  </a:lnTo>
                  <a:lnTo>
                    <a:pt x="194" y="3147"/>
                  </a:lnTo>
                  <a:lnTo>
                    <a:pt x="175" y="3131"/>
                  </a:lnTo>
                  <a:lnTo>
                    <a:pt x="155" y="3115"/>
                  </a:lnTo>
                  <a:lnTo>
                    <a:pt x="137" y="3098"/>
                  </a:lnTo>
                  <a:lnTo>
                    <a:pt x="120" y="3080"/>
                  </a:lnTo>
                  <a:lnTo>
                    <a:pt x="103" y="3061"/>
                  </a:lnTo>
                  <a:lnTo>
                    <a:pt x="89" y="3042"/>
                  </a:lnTo>
                  <a:lnTo>
                    <a:pt x="75" y="3021"/>
                  </a:lnTo>
                  <a:lnTo>
                    <a:pt x="62" y="3000"/>
                  </a:lnTo>
                  <a:lnTo>
                    <a:pt x="51" y="2977"/>
                  </a:lnTo>
                  <a:lnTo>
                    <a:pt x="44" y="2959"/>
                  </a:lnTo>
                  <a:lnTo>
                    <a:pt x="40" y="2942"/>
                  </a:lnTo>
                  <a:lnTo>
                    <a:pt x="37" y="2923"/>
                  </a:lnTo>
                  <a:lnTo>
                    <a:pt x="35" y="2905"/>
                  </a:lnTo>
                  <a:lnTo>
                    <a:pt x="35" y="2887"/>
                  </a:lnTo>
                  <a:lnTo>
                    <a:pt x="37" y="2868"/>
                  </a:lnTo>
                  <a:lnTo>
                    <a:pt x="40" y="2850"/>
                  </a:lnTo>
                  <a:lnTo>
                    <a:pt x="44" y="2832"/>
                  </a:lnTo>
                  <a:lnTo>
                    <a:pt x="49" y="2814"/>
                  </a:lnTo>
                  <a:lnTo>
                    <a:pt x="55" y="2795"/>
                  </a:lnTo>
                  <a:lnTo>
                    <a:pt x="63" y="2777"/>
                  </a:lnTo>
                  <a:lnTo>
                    <a:pt x="70" y="2759"/>
                  </a:lnTo>
                  <a:lnTo>
                    <a:pt x="89" y="2721"/>
                  </a:lnTo>
                  <a:lnTo>
                    <a:pt x="108" y="2685"/>
                  </a:lnTo>
                  <a:lnTo>
                    <a:pt x="128" y="2647"/>
                  </a:lnTo>
                  <a:lnTo>
                    <a:pt x="149" y="2609"/>
                  </a:lnTo>
                  <a:lnTo>
                    <a:pt x="169" y="2572"/>
                  </a:lnTo>
                  <a:lnTo>
                    <a:pt x="186" y="2533"/>
                  </a:lnTo>
                  <a:lnTo>
                    <a:pt x="195" y="2515"/>
                  </a:lnTo>
                  <a:lnTo>
                    <a:pt x="202" y="2495"/>
                  </a:lnTo>
                  <a:lnTo>
                    <a:pt x="208" y="2476"/>
                  </a:lnTo>
                  <a:lnTo>
                    <a:pt x="213" y="2457"/>
                  </a:lnTo>
                  <a:lnTo>
                    <a:pt x="218" y="2438"/>
                  </a:lnTo>
                  <a:lnTo>
                    <a:pt x="221" y="2419"/>
                  </a:lnTo>
                  <a:lnTo>
                    <a:pt x="222" y="2400"/>
                  </a:lnTo>
                  <a:lnTo>
                    <a:pt x="223" y="2380"/>
                  </a:lnTo>
                  <a:lnTo>
                    <a:pt x="221" y="2354"/>
                  </a:lnTo>
                  <a:lnTo>
                    <a:pt x="218" y="2330"/>
                  </a:lnTo>
                  <a:lnTo>
                    <a:pt x="213" y="2305"/>
                  </a:lnTo>
                  <a:lnTo>
                    <a:pt x="208" y="2280"/>
                  </a:lnTo>
                  <a:lnTo>
                    <a:pt x="202" y="2256"/>
                  </a:lnTo>
                  <a:lnTo>
                    <a:pt x="194" y="2231"/>
                  </a:lnTo>
                  <a:lnTo>
                    <a:pt x="186" y="2207"/>
                  </a:lnTo>
                  <a:lnTo>
                    <a:pt x="177" y="2182"/>
                  </a:lnTo>
                  <a:lnTo>
                    <a:pt x="156" y="2133"/>
                  </a:lnTo>
                  <a:lnTo>
                    <a:pt x="135" y="2085"/>
                  </a:lnTo>
                  <a:lnTo>
                    <a:pt x="112" y="2036"/>
                  </a:lnTo>
                  <a:lnTo>
                    <a:pt x="89" y="1989"/>
                  </a:lnTo>
                  <a:lnTo>
                    <a:pt x="67" y="1940"/>
                  </a:lnTo>
                  <a:lnTo>
                    <a:pt x="47" y="1892"/>
                  </a:lnTo>
                  <a:lnTo>
                    <a:pt x="37" y="1868"/>
                  </a:lnTo>
                  <a:lnTo>
                    <a:pt x="29" y="1845"/>
                  </a:lnTo>
                  <a:lnTo>
                    <a:pt x="22" y="1820"/>
                  </a:lnTo>
                  <a:lnTo>
                    <a:pt x="14" y="1796"/>
                  </a:lnTo>
                  <a:lnTo>
                    <a:pt x="9" y="1772"/>
                  </a:lnTo>
                  <a:lnTo>
                    <a:pt x="5" y="1748"/>
                  </a:lnTo>
                  <a:lnTo>
                    <a:pt x="3" y="1724"/>
                  </a:lnTo>
                  <a:lnTo>
                    <a:pt x="0" y="1700"/>
                  </a:lnTo>
                  <a:lnTo>
                    <a:pt x="0" y="1675"/>
                  </a:lnTo>
                  <a:lnTo>
                    <a:pt x="3" y="1651"/>
                  </a:lnTo>
                  <a:lnTo>
                    <a:pt x="6" y="1626"/>
                  </a:lnTo>
                  <a:lnTo>
                    <a:pt x="11" y="1603"/>
                  </a:lnTo>
                  <a:lnTo>
                    <a:pt x="17" y="1584"/>
                  </a:lnTo>
                  <a:lnTo>
                    <a:pt x="23" y="1567"/>
                  </a:lnTo>
                  <a:lnTo>
                    <a:pt x="32" y="1550"/>
                  </a:lnTo>
                  <a:lnTo>
                    <a:pt x="42" y="1535"/>
                  </a:lnTo>
                  <a:lnTo>
                    <a:pt x="53" y="1521"/>
                  </a:lnTo>
                  <a:lnTo>
                    <a:pt x="66" y="1507"/>
                  </a:lnTo>
                  <a:lnTo>
                    <a:pt x="79" y="1493"/>
                  </a:lnTo>
                  <a:lnTo>
                    <a:pt x="94" y="1481"/>
                  </a:lnTo>
                  <a:lnTo>
                    <a:pt x="110" y="1469"/>
                  </a:lnTo>
                  <a:lnTo>
                    <a:pt x="126" y="1458"/>
                  </a:lnTo>
                  <a:lnTo>
                    <a:pt x="143" y="1447"/>
                  </a:lnTo>
                  <a:lnTo>
                    <a:pt x="161" y="1436"/>
                  </a:lnTo>
                  <a:lnTo>
                    <a:pt x="198" y="1417"/>
                  </a:lnTo>
                  <a:lnTo>
                    <a:pt x="237" y="1397"/>
                  </a:lnTo>
                  <a:lnTo>
                    <a:pt x="277" y="1378"/>
                  </a:lnTo>
                  <a:lnTo>
                    <a:pt x="317" y="1360"/>
                  </a:lnTo>
                  <a:lnTo>
                    <a:pt x="355" y="1339"/>
                  </a:lnTo>
                  <a:lnTo>
                    <a:pt x="394" y="1319"/>
                  </a:lnTo>
                  <a:lnTo>
                    <a:pt x="412" y="1308"/>
                  </a:lnTo>
                  <a:lnTo>
                    <a:pt x="430" y="1296"/>
                  </a:lnTo>
                  <a:lnTo>
                    <a:pt x="447" y="1284"/>
                  </a:lnTo>
                  <a:lnTo>
                    <a:pt x="463" y="1272"/>
                  </a:lnTo>
                  <a:lnTo>
                    <a:pt x="478" y="1259"/>
                  </a:lnTo>
                  <a:lnTo>
                    <a:pt x="492" y="1245"/>
                  </a:lnTo>
                  <a:lnTo>
                    <a:pt x="505" y="1230"/>
                  </a:lnTo>
                  <a:lnTo>
                    <a:pt x="518" y="1215"/>
                  </a:lnTo>
                  <a:lnTo>
                    <a:pt x="532" y="1193"/>
                  </a:lnTo>
                  <a:lnTo>
                    <a:pt x="545" y="1172"/>
                  </a:lnTo>
                  <a:lnTo>
                    <a:pt x="557" y="1149"/>
                  </a:lnTo>
                  <a:lnTo>
                    <a:pt x="567" y="1126"/>
                  </a:lnTo>
                  <a:lnTo>
                    <a:pt x="577" y="1103"/>
                  </a:lnTo>
                  <a:lnTo>
                    <a:pt x="587" y="1078"/>
                  </a:lnTo>
                  <a:lnTo>
                    <a:pt x="595" y="1053"/>
                  </a:lnTo>
                  <a:lnTo>
                    <a:pt x="603" y="1029"/>
                  </a:lnTo>
                  <a:lnTo>
                    <a:pt x="617" y="978"/>
                  </a:lnTo>
                  <a:lnTo>
                    <a:pt x="629" y="926"/>
                  </a:lnTo>
                  <a:lnTo>
                    <a:pt x="639" y="875"/>
                  </a:lnTo>
                  <a:lnTo>
                    <a:pt x="651" y="822"/>
                  </a:lnTo>
                  <a:lnTo>
                    <a:pt x="663" y="772"/>
                  </a:lnTo>
                  <a:lnTo>
                    <a:pt x="676" y="721"/>
                  </a:lnTo>
                  <a:lnTo>
                    <a:pt x="683" y="696"/>
                  </a:lnTo>
                  <a:lnTo>
                    <a:pt x="692" y="673"/>
                  </a:lnTo>
                  <a:lnTo>
                    <a:pt x="701" y="649"/>
                  </a:lnTo>
                  <a:lnTo>
                    <a:pt x="710" y="625"/>
                  </a:lnTo>
                  <a:lnTo>
                    <a:pt x="720" y="603"/>
                  </a:lnTo>
                  <a:lnTo>
                    <a:pt x="732" y="581"/>
                  </a:lnTo>
                  <a:lnTo>
                    <a:pt x="745" y="560"/>
                  </a:lnTo>
                  <a:lnTo>
                    <a:pt x="758" y="539"/>
                  </a:lnTo>
                  <a:lnTo>
                    <a:pt x="773" y="519"/>
                  </a:lnTo>
                  <a:lnTo>
                    <a:pt x="789" y="501"/>
                  </a:lnTo>
                  <a:lnTo>
                    <a:pt x="807" y="482"/>
                  </a:lnTo>
                  <a:lnTo>
                    <a:pt x="827" y="466"/>
                  </a:lnTo>
                  <a:lnTo>
                    <a:pt x="842" y="454"/>
                  </a:lnTo>
                  <a:lnTo>
                    <a:pt x="859" y="445"/>
                  </a:lnTo>
                  <a:lnTo>
                    <a:pt x="875" y="436"/>
                  </a:lnTo>
                  <a:lnTo>
                    <a:pt x="893" y="428"/>
                  </a:lnTo>
                  <a:lnTo>
                    <a:pt x="911" y="423"/>
                  </a:lnTo>
                  <a:lnTo>
                    <a:pt x="930" y="419"/>
                  </a:lnTo>
                  <a:lnTo>
                    <a:pt x="949" y="417"/>
                  </a:lnTo>
                  <a:lnTo>
                    <a:pt x="969" y="414"/>
                  </a:lnTo>
                  <a:lnTo>
                    <a:pt x="988" y="413"/>
                  </a:lnTo>
                  <a:lnTo>
                    <a:pt x="1008" y="413"/>
                  </a:lnTo>
                  <a:lnTo>
                    <a:pt x="1029" y="414"/>
                  </a:lnTo>
                  <a:lnTo>
                    <a:pt x="1050" y="416"/>
                  </a:lnTo>
                  <a:lnTo>
                    <a:pt x="1092" y="420"/>
                  </a:lnTo>
                  <a:lnTo>
                    <a:pt x="1135" y="426"/>
                  </a:lnTo>
                  <a:lnTo>
                    <a:pt x="1179" y="434"/>
                  </a:lnTo>
                  <a:lnTo>
                    <a:pt x="1223" y="440"/>
                  </a:lnTo>
                  <a:lnTo>
                    <a:pt x="1268" y="447"/>
                  </a:lnTo>
                  <a:lnTo>
                    <a:pt x="1311" y="451"/>
                  </a:lnTo>
                  <a:lnTo>
                    <a:pt x="1332" y="452"/>
                  </a:lnTo>
                  <a:lnTo>
                    <a:pt x="1354" y="452"/>
                  </a:lnTo>
                  <a:lnTo>
                    <a:pt x="1374" y="452"/>
                  </a:lnTo>
                  <a:lnTo>
                    <a:pt x="1396" y="451"/>
                  </a:lnTo>
                  <a:lnTo>
                    <a:pt x="1416" y="449"/>
                  </a:lnTo>
                  <a:lnTo>
                    <a:pt x="1435" y="446"/>
                  </a:lnTo>
                  <a:lnTo>
                    <a:pt x="1456" y="441"/>
                  </a:lnTo>
                  <a:lnTo>
                    <a:pt x="1475" y="435"/>
                  </a:lnTo>
                  <a:lnTo>
                    <a:pt x="1499" y="426"/>
                  </a:lnTo>
                  <a:lnTo>
                    <a:pt x="1524" y="416"/>
                  </a:lnTo>
                  <a:lnTo>
                    <a:pt x="1547" y="404"/>
                  </a:lnTo>
                  <a:lnTo>
                    <a:pt x="1570" y="392"/>
                  </a:lnTo>
                  <a:lnTo>
                    <a:pt x="1592" y="378"/>
                  </a:lnTo>
                  <a:lnTo>
                    <a:pt x="1615" y="364"/>
                  </a:lnTo>
                  <a:lnTo>
                    <a:pt x="1637" y="348"/>
                  </a:lnTo>
                  <a:lnTo>
                    <a:pt x="1658" y="333"/>
                  </a:lnTo>
                  <a:lnTo>
                    <a:pt x="1701" y="299"/>
                  </a:lnTo>
                  <a:lnTo>
                    <a:pt x="1742" y="264"/>
                  </a:lnTo>
                  <a:lnTo>
                    <a:pt x="1784" y="228"/>
                  </a:lnTo>
                  <a:lnTo>
                    <a:pt x="1825" y="193"/>
                  </a:lnTo>
                  <a:lnTo>
                    <a:pt x="1866" y="157"/>
                  </a:lnTo>
                  <a:lnTo>
                    <a:pt x="1908" y="124"/>
                  </a:lnTo>
                  <a:lnTo>
                    <a:pt x="1929" y="108"/>
                  </a:lnTo>
                  <a:lnTo>
                    <a:pt x="1951" y="93"/>
                  </a:lnTo>
                  <a:lnTo>
                    <a:pt x="1972" y="79"/>
                  </a:lnTo>
                  <a:lnTo>
                    <a:pt x="1994" y="66"/>
                  </a:lnTo>
                  <a:lnTo>
                    <a:pt x="2016" y="53"/>
                  </a:lnTo>
                  <a:lnTo>
                    <a:pt x="2039" y="41"/>
                  </a:lnTo>
                  <a:lnTo>
                    <a:pt x="2062" y="32"/>
                  </a:lnTo>
                  <a:lnTo>
                    <a:pt x="2086" y="23"/>
                  </a:lnTo>
                  <a:lnTo>
                    <a:pt x="2110" y="16"/>
                  </a:lnTo>
                  <a:lnTo>
                    <a:pt x="2135" y="9"/>
                  </a:lnTo>
                  <a:lnTo>
                    <a:pt x="2160" y="5"/>
                  </a:lnTo>
                  <a:lnTo>
                    <a:pt x="2186" y="2"/>
                  </a:lnTo>
                  <a:close/>
                </a:path>
              </a:pathLst>
            </a:custGeom>
            <a:solidFill>
              <a:srgbClr val="928E8C"/>
            </a:solidFill>
            <a:ln w="63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5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797893" y="2321771"/>
              <a:ext cx="452874" cy="447164"/>
            </a:xfrm>
            <a:custGeom>
              <a:avLst/>
              <a:gdLst>
                <a:gd name="T0" fmla="*/ 215 w 4294"/>
                <a:gd name="T1" fmla="*/ 6 h 4240"/>
                <a:gd name="T2" fmla="*/ 188 w 4294"/>
                <a:gd name="T3" fmla="*/ 28 h 4240"/>
                <a:gd name="T4" fmla="*/ 161 w 4294"/>
                <a:gd name="T5" fmla="*/ 46 h 4240"/>
                <a:gd name="T6" fmla="*/ 140 w 4294"/>
                <a:gd name="T7" fmla="*/ 50 h 4240"/>
                <a:gd name="T8" fmla="*/ 103 w 4294"/>
                <a:gd name="T9" fmla="*/ 46 h 4240"/>
                <a:gd name="T10" fmla="*/ 88 w 4294"/>
                <a:gd name="T11" fmla="*/ 48 h 4240"/>
                <a:gd name="T12" fmla="*/ 77 w 4294"/>
                <a:gd name="T13" fmla="*/ 64 h 4240"/>
                <a:gd name="T14" fmla="*/ 69 w 4294"/>
                <a:gd name="T15" fmla="*/ 95 h 4240"/>
                <a:gd name="T16" fmla="*/ 58 w 4294"/>
                <a:gd name="T17" fmla="*/ 125 h 4240"/>
                <a:gd name="T18" fmla="*/ 44 w 4294"/>
                <a:gd name="T19" fmla="*/ 141 h 4240"/>
                <a:gd name="T20" fmla="*/ 11 w 4294"/>
                <a:gd name="T21" fmla="*/ 158 h 4240"/>
                <a:gd name="T22" fmla="*/ 1 w 4294"/>
                <a:gd name="T23" fmla="*/ 168 h 4240"/>
                <a:gd name="T24" fmla="*/ 1 w 4294"/>
                <a:gd name="T25" fmla="*/ 185 h 4240"/>
                <a:gd name="T26" fmla="*/ 14 w 4294"/>
                <a:gd name="T27" fmla="*/ 216 h 4240"/>
                <a:gd name="T28" fmla="*/ 24 w 4294"/>
                <a:gd name="T29" fmla="*/ 247 h 4240"/>
                <a:gd name="T30" fmla="*/ 22 w 4294"/>
                <a:gd name="T31" fmla="*/ 268 h 4240"/>
                <a:gd name="T32" fmla="*/ 7 w 4294"/>
                <a:gd name="T33" fmla="*/ 300 h 4240"/>
                <a:gd name="T34" fmla="*/ 4 w 4294"/>
                <a:gd name="T35" fmla="*/ 314 h 4240"/>
                <a:gd name="T36" fmla="*/ 14 w 4294"/>
                <a:gd name="T37" fmla="*/ 327 h 4240"/>
                <a:gd name="T38" fmla="*/ 45 w 4294"/>
                <a:gd name="T39" fmla="*/ 345 h 4240"/>
                <a:gd name="T40" fmla="*/ 72 w 4294"/>
                <a:gd name="T41" fmla="*/ 364 h 4240"/>
                <a:gd name="T42" fmla="*/ 83 w 4294"/>
                <a:gd name="T43" fmla="*/ 382 h 4240"/>
                <a:gd name="T44" fmla="*/ 90 w 4294"/>
                <a:gd name="T45" fmla="*/ 417 h 4240"/>
                <a:gd name="T46" fmla="*/ 97 w 4294"/>
                <a:gd name="T47" fmla="*/ 429 h 4240"/>
                <a:gd name="T48" fmla="*/ 114 w 4294"/>
                <a:gd name="T49" fmla="*/ 434 h 4240"/>
                <a:gd name="T50" fmla="*/ 150 w 4294"/>
                <a:gd name="T51" fmla="*/ 432 h 4240"/>
                <a:gd name="T52" fmla="*/ 183 w 4294"/>
                <a:gd name="T53" fmla="*/ 432 h 4240"/>
                <a:gd name="T54" fmla="*/ 203 w 4294"/>
                <a:gd name="T55" fmla="*/ 440 h 4240"/>
                <a:gd name="T56" fmla="*/ 231 w 4294"/>
                <a:gd name="T57" fmla="*/ 465 h 4240"/>
                <a:gd name="T58" fmla="*/ 244 w 4294"/>
                <a:gd name="T59" fmla="*/ 471 h 4240"/>
                <a:gd name="T60" fmla="*/ 262 w 4294"/>
                <a:gd name="T61" fmla="*/ 465 h 4240"/>
                <a:gd name="T62" fmla="*/ 289 w 4294"/>
                <a:gd name="T63" fmla="*/ 443 h 4240"/>
                <a:gd name="T64" fmla="*/ 316 w 4294"/>
                <a:gd name="T65" fmla="*/ 425 h 4240"/>
                <a:gd name="T66" fmla="*/ 337 w 4294"/>
                <a:gd name="T67" fmla="*/ 421 h 4240"/>
                <a:gd name="T68" fmla="*/ 375 w 4294"/>
                <a:gd name="T69" fmla="*/ 425 h 4240"/>
                <a:gd name="T70" fmla="*/ 389 w 4294"/>
                <a:gd name="T71" fmla="*/ 422 h 4240"/>
                <a:gd name="T72" fmla="*/ 400 w 4294"/>
                <a:gd name="T73" fmla="*/ 407 h 4240"/>
                <a:gd name="T74" fmla="*/ 409 w 4294"/>
                <a:gd name="T75" fmla="*/ 376 h 4240"/>
                <a:gd name="T76" fmla="*/ 419 w 4294"/>
                <a:gd name="T77" fmla="*/ 346 h 4240"/>
                <a:gd name="T78" fmla="*/ 434 w 4294"/>
                <a:gd name="T79" fmla="*/ 330 h 4240"/>
                <a:gd name="T80" fmla="*/ 466 w 4294"/>
                <a:gd name="T81" fmla="*/ 313 h 4240"/>
                <a:gd name="T82" fmla="*/ 477 w 4294"/>
                <a:gd name="T83" fmla="*/ 303 h 4240"/>
                <a:gd name="T84" fmla="*/ 476 w 4294"/>
                <a:gd name="T85" fmla="*/ 286 h 4240"/>
                <a:gd name="T86" fmla="*/ 463 w 4294"/>
                <a:gd name="T87" fmla="*/ 255 h 4240"/>
                <a:gd name="T88" fmla="*/ 453 w 4294"/>
                <a:gd name="T89" fmla="*/ 224 h 4240"/>
                <a:gd name="T90" fmla="*/ 455 w 4294"/>
                <a:gd name="T91" fmla="*/ 203 h 4240"/>
                <a:gd name="T92" fmla="*/ 471 w 4294"/>
                <a:gd name="T93" fmla="*/ 171 h 4240"/>
                <a:gd name="T94" fmla="*/ 473 w 4294"/>
                <a:gd name="T95" fmla="*/ 157 h 4240"/>
                <a:gd name="T96" fmla="*/ 463 w 4294"/>
                <a:gd name="T97" fmla="*/ 144 h 4240"/>
                <a:gd name="T98" fmla="*/ 433 w 4294"/>
                <a:gd name="T99" fmla="*/ 126 h 4240"/>
                <a:gd name="T100" fmla="*/ 406 w 4294"/>
                <a:gd name="T101" fmla="*/ 107 h 4240"/>
                <a:gd name="T102" fmla="*/ 395 w 4294"/>
                <a:gd name="T103" fmla="*/ 89 h 4240"/>
                <a:gd name="T104" fmla="*/ 388 w 4294"/>
                <a:gd name="T105" fmla="*/ 54 h 4240"/>
                <a:gd name="T106" fmla="*/ 381 w 4294"/>
                <a:gd name="T107" fmla="*/ 42 h 4240"/>
                <a:gd name="T108" fmla="*/ 364 w 4294"/>
                <a:gd name="T109" fmla="*/ 37 h 4240"/>
                <a:gd name="T110" fmla="*/ 327 w 4294"/>
                <a:gd name="T111" fmla="*/ 39 h 4240"/>
                <a:gd name="T112" fmla="*/ 294 w 4294"/>
                <a:gd name="T113" fmla="*/ 38 h 4240"/>
                <a:gd name="T114" fmla="*/ 274 w 4294"/>
                <a:gd name="T115" fmla="*/ 30 h 4240"/>
                <a:gd name="T116" fmla="*/ 247 w 4294"/>
                <a:gd name="T117" fmla="*/ 6 h 4240"/>
                <a:gd name="T118" fmla="*/ 233 w 4294"/>
                <a:gd name="T119" fmla="*/ 0 h 42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94" h="4240">
                  <a:moveTo>
                    <a:pt x="2089" y="0"/>
                  </a:moveTo>
                  <a:lnTo>
                    <a:pt x="2068" y="2"/>
                  </a:lnTo>
                  <a:lnTo>
                    <a:pt x="2048" y="6"/>
                  </a:lnTo>
                  <a:lnTo>
                    <a:pt x="2027" y="12"/>
                  </a:lnTo>
                  <a:lnTo>
                    <a:pt x="2007" y="18"/>
                  </a:lnTo>
                  <a:lnTo>
                    <a:pt x="1989" y="26"/>
                  </a:lnTo>
                  <a:lnTo>
                    <a:pt x="1969" y="35"/>
                  </a:lnTo>
                  <a:lnTo>
                    <a:pt x="1951" y="45"/>
                  </a:lnTo>
                  <a:lnTo>
                    <a:pt x="1933" y="56"/>
                  </a:lnTo>
                  <a:lnTo>
                    <a:pt x="1914" y="68"/>
                  </a:lnTo>
                  <a:lnTo>
                    <a:pt x="1896" y="79"/>
                  </a:lnTo>
                  <a:lnTo>
                    <a:pt x="1878" y="92"/>
                  </a:lnTo>
                  <a:lnTo>
                    <a:pt x="1861" y="105"/>
                  </a:lnTo>
                  <a:lnTo>
                    <a:pt x="1826" y="133"/>
                  </a:lnTo>
                  <a:lnTo>
                    <a:pt x="1793" y="161"/>
                  </a:lnTo>
                  <a:lnTo>
                    <a:pt x="1761" y="190"/>
                  </a:lnTo>
                  <a:lnTo>
                    <a:pt x="1729" y="217"/>
                  </a:lnTo>
                  <a:lnTo>
                    <a:pt x="1692" y="248"/>
                  </a:lnTo>
                  <a:lnTo>
                    <a:pt x="1654" y="279"/>
                  </a:lnTo>
                  <a:lnTo>
                    <a:pt x="1616" y="311"/>
                  </a:lnTo>
                  <a:lnTo>
                    <a:pt x="1577" y="339"/>
                  </a:lnTo>
                  <a:lnTo>
                    <a:pt x="1556" y="353"/>
                  </a:lnTo>
                  <a:lnTo>
                    <a:pt x="1536" y="365"/>
                  </a:lnTo>
                  <a:lnTo>
                    <a:pt x="1515" y="377"/>
                  </a:lnTo>
                  <a:lnTo>
                    <a:pt x="1494" y="389"/>
                  </a:lnTo>
                  <a:lnTo>
                    <a:pt x="1471" y="400"/>
                  </a:lnTo>
                  <a:lnTo>
                    <a:pt x="1450" y="411"/>
                  </a:lnTo>
                  <a:lnTo>
                    <a:pt x="1427" y="420"/>
                  </a:lnTo>
                  <a:lnTo>
                    <a:pt x="1404" y="429"/>
                  </a:lnTo>
                  <a:lnTo>
                    <a:pt x="1384" y="434"/>
                  </a:lnTo>
                  <a:lnTo>
                    <a:pt x="1364" y="440"/>
                  </a:lnTo>
                  <a:lnTo>
                    <a:pt x="1343" y="444"/>
                  </a:lnTo>
                  <a:lnTo>
                    <a:pt x="1323" y="447"/>
                  </a:lnTo>
                  <a:lnTo>
                    <a:pt x="1302" y="449"/>
                  </a:lnTo>
                  <a:lnTo>
                    <a:pt x="1282" y="450"/>
                  </a:lnTo>
                  <a:lnTo>
                    <a:pt x="1262" y="452"/>
                  </a:lnTo>
                  <a:lnTo>
                    <a:pt x="1241" y="452"/>
                  </a:lnTo>
                  <a:lnTo>
                    <a:pt x="1199" y="449"/>
                  </a:lnTo>
                  <a:lnTo>
                    <a:pt x="1158" y="445"/>
                  </a:lnTo>
                  <a:lnTo>
                    <a:pt x="1117" y="440"/>
                  </a:lnTo>
                  <a:lnTo>
                    <a:pt x="1076" y="433"/>
                  </a:lnTo>
                  <a:lnTo>
                    <a:pt x="1045" y="429"/>
                  </a:lnTo>
                  <a:lnTo>
                    <a:pt x="1009" y="422"/>
                  </a:lnTo>
                  <a:lnTo>
                    <a:pt x="969" y="417"/>
                  </a:lnTo>
                  <a:lnTo>
                    <a:pt x="928" y="413"/>
                  </a:lnTo>
                  <a:lnTo>
                    <a:pt x="908" y="412"/>
                  </a:lnTo>
                  <a:lnTo>
                    <a:pt x="887" y="412"/>
                  </a:lnTo>
                  <a:lnTo>
                    <a:pt x="868" y="413"/>
                  </a:lnTo>
                  <a:lnTo>
                    <a:pt x="850" y="416"/>
                  </a:lnTo>
                  <a:lnTo>
                    <a:pt x="832" y="419"/>
                  </a:lnTo>
                  <a:lnTo>
                    <a:pt x="815" y="425"/>
                  </a:lnTo>
                  <a:lnTo>
                    <a:pt x="808" y="428"/>
                  </a:lnTo>
                  <a:lnTo>
                    <a:pt x="800" y="432"/>
                  </a:lnTo>
                  <a:lnTo>
                    <a:pt x="794" y="436"/>
                  </a:lnTo>
                  <a:lnTo>
                    <a:pt x="787" y="441"/>
                  </a:lnTo>
                  <a:lnTo>
                    <a:pt x="771" y="455"/>
                  </a:lnTo>
                  <a:lnTo>
                    <a:pt x="757" y="471"/>
                  </a:lnTo>
                  <a:lnTo>
                    <a:pt x="743" y="487"/>
                  </a:lnTo>
                  <a:lnTo>
                    <a:pt x="731" y="504"/>
                  </a:lnTo>
                  <a:lnTo>
                    <a:pt x="722" y="520"/>
                  </a:lnTo>
                  <a:lnTo>
                    <a:pt x="712" y="538"/>
                  </a:lnTo>
                  <a:lnTo>
                    <a:pt x="703" y="556"/>
                  </a:lnTo>
                  <a:lnTo>
                    <a:pt x="696" y="574"/>
                  </a:lnTo>
                  <a:lnTo>
                    <a:pt x="688" y="593"/>
                  </a:lnTo>
                  <a:lnTo>
                    <a:pt x="682" y="613"/>
                  </a:lnTo>
                  <a:lnTo>
                    <a:pt x="675" y="632"/>
                  </a:lnTo>
                  <a:lnTo>
                    <a:pt x="669" y="653"/>
                  </a:lnTo>
                  <a:lnTo>
                    <a:pt x="659" y="693"/>
                  </a:lnTo>
                  <a:lnTo>
                    <a:pt x="649" y="733"/>
                  </a:lnTo>
                  <a:lnTo>
                    <a:pt x="641" y="773"/>
                  </a:lnTo>
                  <a:lnTo>
                    <a:pt x="632" y="811"/>
                  </a:lnTo>
                  <a:lnTo>
                    <a:pt x="623" y="858"/>
                  </a:lnTo>
                  <a:lnTo>
                    <a:pt x="611" y="905"/>
                  </a:lnTo>
                  <a:lnTo>
                    <a:pt x="598" y="952"/>
                  </a:lnTo>
                  <a:lnTo>
                    <a:pt x="584" y="998"/>
                  </a:lnTo>
                  <a:lnTo>
                    <a:pt x="575" y="1020"/>
                  </a:lnTo>
                  <a:lnTo>
                    <a:pt x="567" y="1043"/>
                  </a:lnTo>
                  <a:lnTo>
                    <a:pt x="557" y="1064"/>
                  </a:lnTo>
                  <a:lnTo>
                    <a:pt x="547" y="1086"/>
                  </a:lnTo>
                  <a:lnTo>
                    <a:pt x="536" y="1107"/>
                  </a:lnTo>
                  <a:lnTo>
                    <a:pt x="525" y="1129"/>
                  </a:lnTo>
                  <a:lnTo>
                    <a:pt x="512" y="1149"/>
                  </a:lnTo>
                  <a:lnTo>
                    <a:pt x="498" y="1170"/>
                  </a:lnTo>
                  <a:lnTo>
                    <a:pt x="485" y="1186"/>
                  </a:lnTo>
                  <a:lnTo>
                    <a:pt x="471" y="1202"/>
                  </a:lnTo>
                  <a:lnTo>
                    <a:pt x="457" y="1217"/>
                  </a:lnTo>
                  <a:lnTo>
                    <a:pt x="442" y="1231"/>
                  </a:lnTo>
                  <a:lnTo>
                    <a:pt x="427" y="1245"/>
                  </a:lnTo>
                  <a:lnTo>
                    <a:pt x="411" y="1257"/>
                  </a:lnTo>
                  <a:lnTo>
                    <a:pt x="395" y="1270"/>
                  </a:lnTo>
                  <a:lnTo>
                    <a:pt x="377" y="1282"/>
                  </a:lnTo>
                  <a:lnTo>
                    <a:pt x="342" y="1303"/>
                  </a:lnTo>
                  <a:lnTo>
                    <a:pt x="305" y="1324"/>
                  </a:lnTo>
                  <a:lnTo>
                    <a:pt x="269" y="1342"/>
                  </a:lnTo>
                  <a:lnTo>
                    <a:pt x="232" y="1360"/>
                  </a:lnTo>
                  <a:lnTo>
                    <a:pt x="204" y="1372"/>
                  </a:lnTo>
                  <a:lnTo>
                    <a:pt x="173" y="1387"/>
                  </a:lnTo>
                  <a:lnTo>
                    <a:pt x="137" y="1404"/>
                  </a:lnTo>
                  <a:lnTo>
                    <a:pt x="103" y="1424"/>
                  </a:lnTo>
                  <a:lnTo>
                    <a:pt x="86" y="1434"/>
                  </a:lnTo>
                  <a:lnTo>
                    <a:pt x="70" y="1445"/>
                  </a:lnTo>
                  <a:lnTo>
                    <a:pt x="55" y="1457"/>
                  </a:lnTo>
                  <a:lnTo>
                    <a:pt x="42" y="1469"/>
                  </a:lnTo>
                  <a:lnTo>
                    <a:pt x="30" y="1482"/>
                  </a:lnTo>
                  <a:lnTo>
                    <a:pt x="20" y="1495"/>
                  </a:lnTo>
                  <a:lnTo>
                    <a:pt x="16" y="1501"/>
                  </a:lnTo>
                  <a:lnTo>
                    <a:pt x="13" y="1508"/>
                  </a:lnTo>
                  <a:lnTo>
                    <a:pt x="9" y="1515"/>
                  </a:lnTo>
                  <a:lnTo>
                    <a:pt x="7" y="1522"/>
                  </a:lnTo>
                  <a:lnTo>
                    <a:pt x="4" y="1539"/>
                  </a:lnTo>
                  <a:lnTo>
                    <a:pt x="2" y="1555"/>
                  </a:lnTo>
                  <a:lnTo>
                    <a:pt x="0" y="1572"/>
                  </a:lnTo>
                  <a:lnTo>
                    <a:pt x="0" y="1589"/>
                  </a:lnTo>
                  <a:lnTo>
                    <a:pt x="2" y="1609"/>
                  </a:lnTo>
                  <a:lnTo>
                    <a:pt x="4" y="1628"/>
                  </a:lnTo>
                  <a:lnTo>
                    <a:pt x="7" y="1648"/>
                  </a:lnTo>
                  <a:lnTo>
                    <a:pt x="13" y="1668"/>
                  </a:lnTo>
                  <a:lnTo>
                    <a:pt x="18" y="1688"/>
                  </a:lnTo>
                  <a:lnTo>
                    <a:pt x="24" y="1709"/>
                  </a:lnTo>
                  <a:lnTo>
                    <a:pt x="32" y="1729"/>
                  </a:lnTo>
                  <a:lnTo>
                    <a:pt x="40" y="1749"/>
                  </a:lnTo>
                  <a:lnTo>
                    <a:pt x="57" y="1789"/>
                  </a:lnTo>
                  <a:lnTo>
                    <a:pt x="74" y="1829"/>
                  </a:lnTo>
                  <a:lnTo>
                    <a:pt x="92" y="1867"/>
                  </a:lnTo>
                  <a:lnTo>
                    <a:pt x="109" y="1902"/>
                  </a:lnTo>
                  <a:lnTo>
                    <a:pt x="130" y="1945"/>
                  </a:lnTo>
                  <a:lnTo>
                    <a:pt x="149" y="1990"/>
                  </a:lnTo>
                  <a:lnTo>
                    <a:pt x="169" y="2036"/>
                  </a:lnTo>
                  <a:lnTo>
                    <a:pt x="185" y="2081"/>
                  </a:lnTo>
                  <a:lnTo>
                    <a:pt x="192" y="2104"/>
                  </a:lnTo>
                  <a:lnTo>
                    <a:pt x="200" y="2127"/>
                  </a:lnTo>
                  <a:lnTo>
                    <a:pt x="205" y="2151"/>
                  </a:lnTo>
                  <a:lnTo>
                    <a:pt x="211" y="2174"/>
                  </a:lnTo>
                  <a:lnTo>
                    <a:pt x="215" y="2198"/>
                  </a:lnTo>
                  <a:lnTo>
                    <a:pt x="218" y="2222"/>
                  </a:lnTo>
                  <a:lnTo>
                    <a:pt x="221" y="2246"/>
                  </a:lnTo>
                  <a:lnTo>
                    <a:pt x="222" y="2271"/>
                  </a:lnTo>
                  <a:lnTo>
                    <a:pt x="222" y="2291"/>
                  </a:lnTo>
                  <a:lnTo>
                    <a:pt x="221" y="2312"/>
                  </a:lnTo>
                  <a:lnTo>
                    <a:pt x="219" y="2332"/>
                  </a:lnTo>
                  <a:lnTo>
                    <a:pt x="216" y="2353"/>
                  </a:lnTo>
                  <a:lnTo>
                    <a:pt x="212" y="2372"/>
                  </a:lnTo>
                  <a:lnTo>
                    <a:pt x="206" y="2391"/>
                  </a:lnTo>
                  <a:lnTo>
                    <a:pt x="200" y="2411"/>
                  </a:lnTo>
                  <a:lnTo>
                    <a:pt x="193" y="2430"/>
                  </a:lnTo>
                  <a:lnTo>
                    <a:pt x="178" y="2468"/>
                  </a:lnTo>
                  <a:lnTo>
                    <a:pt x="161" y="2505"/>
                  </a:lnTo>
                  <a:lnTo>
                    <a:pt x="143" y="2542"/>
                  </a:lnTo>
                  <a:lnTo>
                    <a:pt x="123" y="2578"/>
                  </a:lnTo>
                  <a:lnTo>
                    <a:pt x="109" y="2602"/>
                  </a:lnTo>
                  <a:lnTo>
                    <a:pt x="92" y="2632"/>
                  </a:lnTo>
                  <a:lnTo>
                    <a:pt x="75" y="2665"/>
                  </a:lnTo>
                  <a:lnTo>
                    <a:pt x="59" y="2699"/>
                  </a:lnTo>
                  <a:lnTo>
                    <a:pt x="52" y="2717"/>
                  </a:lnTo>
                  <a:lnTo>
                    <a:pt x="46" y="2735"/>
                  </a:lnTo>
                  <a:lnTo>
                    <a:pt x="41" y="2752"/>
                  </a:lnTo>
                  <a:lnTo>
                    <a:pt x="37" y="2769"/>
                  </a:lnTo>
                  <a:lnTo>
                    <a:pt x="35" y="2785"/>
                  </a:lnTo>
                  <a:lnTo>
                    <a:pt x="36" y="2800"/>
                  </a:lnTo>
                  <a:lnTo>
                    <a:pt x="36" y="2808"/>
                  </a:lnTo>
                  <a:lnTo>
                    <a:pt x="38" y="2815"/>
                  </a:lnTo>
                  <a:lnTo>
                    <a:pt x="40" y="2823"/>
                  </a:lnTo>
                  <a:lnTo>
                    <a:pt x="43" y="2829"/>
                  </a:lnTo>
                  <a:lnTo>
                    <a:pt x="48" y="2842"/>
                  </a:lnTo>
                  <a:lnTo>
                    <a:pt x="56" y="2854"/>
                  </a:lnTo>
                  <a:lnTo>
                    <a:pt x="62" y="2867"/>
                  </a:lnTo>
                  <a:lnTo>
                    <a:pt x="71" y="2878"/>
                  </a:lnTo>
                  <a:lnTo>
                    <a:pt x="84" y="2894"/>
                  </a:lnTo>
                  <a:lnTo>
                    <a:pt x="98" y="2910"/>
                  </a:lnTo>
                  <a:lnTo>
                    <a:pt x="114" y="2925"/>
                  </a:lnTo>
                  <a:lnTo>
                    <a:pt x="130" y="2940"/>
                  </a:lnTo>
                  <a:lnTo>
                    <a:pt x="148" y="2954"/>
                  </a:lnTo>
                  <a:lnTo>
                    <a:pt x="166" y="2968"/>
                  </a:lnTo>
                  <a:lnTo>
                    <a:pt x="186" y="2981"/>
                  </a:lnTo>
                  <a:lnTo>
                    <a:pt x="205" y="2994"/>
                  </a:lnTo>
                  <a:lnTo>
                    <a:pt x="245" y="3017"/>
                  </a:lnTo>
                  <a:lnTo>
                    <a:pt x="286" y="3041"/>
                  </a:lnTo>
                  <a:lnTo>
                    <a:pt x="325" y="3061"/>
                  </a:lnTo>
                  <a:lnTo>
                    <a:pt x="362" y="3082"/>
                  </a:lnTo>
                  <a:lnTo>
                    <a:pt x="405" y="3106"/>
                  </a:lnTo>
                  <a:lnTo>
                    <a:pt x="448" y="3130"/>
                  </a:lnTo>
                  <a:lnTo>
                    <a:pt x="491" y="3155"/>
                  </a:lnTo>
                  <a:lnTo>
                    <a:pt x="532" y="3183"/>
                  </a:lnTo>
                  <a:lnTo>
                    <a:pt x="553" y="3197"/>
                  </a:lnTo>
                  <a:lnTo>
                    <a:pt x="572" y="3212"/>
                  </a:lnTo>
                  <a:lnTo>
                    <a:pt x="591" y="3227"/>
                  </a:lnTo>
                  <a:lnTo>
                    <a:pt x="611" y="3243"/>
                  </a:lnTo>
                  <a:lnTo>
                    <a:pt x="629" y="3260"/>
                  </a:lnTo>
                  <a:lnTo>
                    <a:pt x="646" y="3278"/>
                  </a:lnTo>
                  <a:lnTo>
                    <a:pt x="663" y="3296"/>
                  </a:lnTo>
                  <a:lnTo>
                    <a:pt x="680" y="3314"/>
                  </a:lnTo>
                  <a:lnTo>
                    <a:pt x="691" y="3331"/>
                  </a:lnTo>
                  <a:lnTo>
                    <a:pt x="703" y="3348"/>
                  </a:lnTo>
                  <a:lnTo>
                    <a:pt x="714" y="3366"/>
                  </a:lnTo>
                  <a:lnTo>
                    <a:pt x="724" y="3383"/>
                  </a:lnTo>
                  <a:lnTo>
                    <a:pt x="732" y="3401"/>
                  </a:lnTo>
                  <a:lnTo>
                    <a:pt x="740" y="3420"/>
                  </a:lnTo>
                  <a:lnTo>
                    <a:pt x="747" y="3438"/>
                  </a:lnTo>
                  <a:lnTo>
                    <a:pt x="754" y="3457"/>
                  </a:lnTo>
                  <a:lnTo>
                    <a:pt x="765" y="3496"/>
                  </a:lnTo>
                  <a:lnTo>
                    <a:pt x="773" y="3536"/>
                  </a:lnTo>
                  <a:lnTo>
                    <a:pt x="781" y="3575"/>
                  </a:lnTo>
                  <a:lnTo>
                    <a:pt x="787" y="3615"/>
                  </a:lnTo>
                  <a:lnTo>
                    <a:pt x="791" y="3645"/>
                  </a:lnTo>
                  <a:lnTo>
                    <a:pt x="797" y="3680"/>
                  </a:lnTo>
                  <a:lnTo>
                    <a:pt x="803" y="3716"/>
                  </a:lnTo>
                  <a:lnTo>
                    <a:pt x="812" y="3753"/>
                  </a:lnTo>
                  <a:lnTo>
                    <a:pt x="816" y="3771"/>
                  </a:lnTo>
                  <a:lnTo>
                    <a:pt x="823" y="3788"/>
                  </a:lnTo>
                  <a:lnTo>
                    <a:pt x="829" y="3806"/>
                  </a:lnTo>
                  <a:lnTo>
                    <a:pt x="838" y="3822"/>
                  </a:lnTo>
                  <a:lnTo>
                    <a:pt x="846" y="3836"/>
                  </a:lnTo>
                  <a:lnTo>
                    <a:pt x="856" y="3849"/>
                  </a:lnTo>
                  <a:lnTo>
                    <a:pt x="861" y="3854"/>
                  </a:lnTo>
                  <a:lnTo>
                    <a:pt x="868" y="3859"/>
                  </a:lnTo>
                  <a:lnTo>
                    <a:pt x="874" y="3864"/>
                  </a:lnTo>
                  <a:lnTo>
                    <a:pt x="881" y="3868"/>
                  </a:lnTo>
                  <a:lnTo>
                    <a:pt x="895" y="3876"/>
                  </a:lnTo>
                  <a:lnTo>
                    <a:pt x="909" y="3883"/>
                  </a:lnTo>
                  <a:lnTo>
                    <a:pt x="924" y="3888"/>
                  </a:lnTo>
                  <a:lnTo>
                    <a:pt x="940" y="3894"/>
                  </a:lnTo>
                  <a:lnTo>
                    <a:pt x="960" y="3899"/>
                  </a:lnTo>
                  <a:lnTo>
                    <a:pt x="982" y="3903"/>
                  </a:lnTo>
                  <a:lnTo>
                    <a:pt x="1003" y="3907"/>
                  </a:lnTo>
                  <a:lnTo>
                    <a:pt x="1026" y="3910"/>
                  </a:lnTo>
                  <a:lnTo>
                    <a:pt x="1050" y="3911"/>
                  </a:lnTo>
                  <a:lnTo>
                    <a:pt x="1072" y="3912"/>
                  </a:lnTo>
                  <a:lnTo>
                    <a:pt x="1096" y="3912"/>
                  </a:lnTo>
                  <a:lnTo>
                    <a:pt x="1120" y="3911"/>
                  </a:lnTo>
                  <a:lnTo>
                    <a:pt x="1167" y="3908"/>
                  </a:lnTo>
                  <a:lnTo>
                    <a:pt x="1214" y="3903"/>
                  </a:lnTo>
                  <a:lnTo>
                    <a:pt x="1259" y="3899"/>
                  </a:lnTo>
                  <a:lnTo>
                    <a:pt x="1302" y="3894"/>
                  </a:lnTo>
                  <a:lnTo>
                    <a:pt x="1352" y="3888"/>
                  </a:lnTo>
                  <a:lnTo>
                    <a:pt x="1401" y="3884"/>
                  </a:lnTo>
                  <a:lnTo>
                    <a:pt x="1451" y="3882"/>
                  </a:lnTo>
                  <a:lnTo>
                    <a:pt x="1501" y="3881"/>
                  </a:lnTo>
                  <a:lnTo>
                    <a:pt x="1526" y="3881"/>
                  </a:lnTo>
                  <a:lnTo>
                    <a:pt x="1551" y="3882"/>
                  </a:lnTo>
                  <a:lnTo>
                    <a:pt x="1576" y="3883"/>
                  </a:lnTo>
                  <a:lnTo>
                    <a:pt x="1600" y="3886"/>
                  </a:lnTo>
                  <a:lnTo>
                    <a:pt x="1625" y="3889"/>
                  </a:lnTo>
                  <a:lnTo>
                    <a:pt x="1649" y="3893"/>
                  </a:lnTo>
                  <a:lnTo>
                    <a:pt x="1673" y="3898"/>
                  </a:lnTo>
                  <a:lnTo>
                    <a:pt x="1698" y="3905"/>
                  </a:lnTo>
                  <a:lnTo>
                    <a:pt x="1718" y="3911"/>
                  </a:lnTo>
                  <a:lnTo>
                    <a:pt x="1737" y="3917"/>
                  </a:lnTo>
                  <a:lnTo>
                    <a:pt x="1756" y="3926"/>
                  </a:lnTo>
                  <a:lnTo>
                    <a:pt x="1775" y="3935"/>
                  </a:lnTo>
                  <a:lnTo>
                    <a:pt x="1792" y="3944"/>
                  </a:lnTo>
                  <a:lnTo>
                    <a:pt x="1809" y="3954"/>
                  </a:lnTo>
                  <a:lnTo>
                    <a:pt x="1826" y="3965"/>
                  </a:lnTo>
                  <a:lnTo>
                    <a:pt x="1843" y="3977"/>
                  </a:lnTo>
                  <a:lnTo>
                    <a:pt x="1875" y="4001"/>
                  </a:lnTo>
                  <a:lnTo>
                    <a:pt x="1906" y="4028"/>
                  </a:lnTo>
                  <a:lnTo>
                    <a:pt x="1936" y="4055"/>
                  </a:lnTo>
                  <a:lnTo>
                    <a:pt x="1966" y="4083"/>
                  </a:lnTo>
                  <a:lnTo>
                    <a:pt x="1989" y="4106"/>
                  </a:lnTo>
                  <a:lnTo>
                    <a:pt x="2014" y="4131"/>
                  </a:lnTo>
                  <a:lnTo>
                    <a:pt x="2044" y="4158"/>
                  </a:lnTo>
                  <a:lnTo>
                    <a:pt x="2074" y="4184"/>
                  </a:lnTo>
                  <a:lnTo>
                    <a:pt x="2090" y="4196"/>
                  </a:lnTo>
                  <a:lnTo>
                    <a:pt x="2106" y="4208"/>
                  </a:lnTo>
                  <a:lnTo>
                    <a:pt x="2122" y="4217"/>
                  </a:lnTo>
                  <a:lnTo>
                    <a:pt x="2138" y="4225"/>
                  </a:lnTo>
                  <a:lnTo>
                    <a:pt x="2155" y="4233"/>
                  </a:lnTo>
                  <a:lnTo>
                    <a:pt x="2172" y="4237"/>
                  </a:lnTo>
                  <a:lnTo>
                    <a:pt x="2180" y="4238"/>
                  </a:lnTo>
                  <a:lnTo>
                    <a:pt x="2189" y="4239"/>
                  </a:lnTo>
                  <a:lnTo>
                    <a:pt x="2196" y="4240"/>
                  </a:lnTo>
                  <a:lnTo>
                    <a:pt x="2205" y="4239"/>
                  </a:lnTo>
                  <a:lnTo>
                    <a:pt x="2225" y="4237"/>
                  </a:lnTo>
                  <a:lnTo>
                    <a:pt x="2247" y="4233"/>
                  </a:lnTo>
                  <a:lnTo>
                    <a:pt x="2266" y="4227"/>
                  </a:lnTo>
                  <a:lnTo>
                    <a:pt x="2287" y="4221"/>
                  </a:lnTo>
                  <a:lnTo>
                    <a:pt x="2306" y="4213"/>
                  </a:lnTo>
                  <a:lnTo>
                    <a:pt x="2324" y="4205"/>
                  </a:lnTo>
                  <a:lnTo>
                    <a:pt x="2343" y="4195"/>
                  </a:lnTo>
                  <a:lnTo>
                    <a:pt x="2361" y="4184"/>
                  </a:lnTo>
                  <a:lnTo>
                    <a:pt x="2379" y="4172"/>
                  </a:lnTo>
                  <a:lnTo>
                    <a:pt x="2397" y="4160"/>
                  </a:lnTo>
                  <a:lnTo>
                    <a:pt x="2416" y="4148"/>
                  </a:lnTo>
                  <a:lnTo>
                    <a:pt x="2433" y="4134"/>
                  </a:lnTo>
                  <a:lnTo>
                    <a:pt x="2467" y="4106"/>
                  </a:lnTo>
                  <a:lnTo>
                    <a:pt x="2501" y="4078"/>
                  </a:lnTo>
                  <a:lnTo>
                    <a:pt x="2533" y="4050"/>
                  </a:lnTo>
                  <a:lnTo>
                    <a:pt x="2564" y="4023"/>
                  </a:lnTo>
                  <a:lnTo>
                    <a:pt x="2602" y="3991"/>
                  </a:lnTo>
                  <a:lnTo>
                    <a:pt x="2639" y="3959"/>
                  </a:lnTo>
                  <a:lnTo>
                    <a:pt x="2678" y="3929"/>
                  </a:lnTo>
                  <a:lnTo>
                    <a:pt x="2717" y="3900"/>
                  </a:lnTo>
                  <a:lnTo>
                    <a:pt x="2737" y="3887"/>
                  </a:lnTo>
                  <a:lnTo>
                    <a:pt x="2758" y="3874"/>
                  </a:lnTo>
                  <a:lnTo>
                    <a:pt x="2779" y="3862"/>
                  </a:lnTo>
                  <a:lnTo>
                    <a:pt x="2801" y="3850"/>
                  </a:lnTo>
                  <a:lnTo>
                    <a:pt x="2822" y="3839"/>
                  </a:lnTo>
                  <a:lnTo>
                    <a:pt x="2844" y="3829"/>
                  </a:lnTo>
                  <a:lnTo>
                    <a:pt x="2868" y="3820"/>
                  </a:lnTo>
                  <a:lnTo>
                    <a:pt x="2890" y="3811"/>
                  </a:lnTo>
                  <a:lnTo>
                    <a:pt x="2911" y="3805"/>
                  </a:lnTo>
                  <a:lnTo>
                    <a:pt x="2930" y="3799"/>
                  </a:lnTo>
                  <a:lnTo>
                    <a:pt x="2950" y="3796"/>
                  </a:lnTo>
                  <a:lnTo>
                    <a:pt x="2971" y="3793"/>
                  </a:lnTo>
                  <a:lnTo>
                    <a:pt x="2991" y="3791"/>
                  </a:lnTo>
                  <a:lnTo>
                    <a:pt x="3012" y="3788"/>
                  </a:lnTo>
                  <a:lnTo>
                    <a:pt x="3032" y="3788"/>
                  </a:lnTo>
                  <a:lnTo>
                    <a:pt x="3053" y="3788"/>
                  </a:lnTo>
                  <a:lnTo>
                    <a:pt x="3094" y="3791"/>
                  </a:lnTo>
                  <a:lnTo>
                    <a:pt x="3135" y="3794"/>
                  </a:lnTo>
                  <a:lnTo>
                    <a:pt x="3176" y="3799"/>
                  </a:lnTo>
                  <a:lnTo>
                    <a:pt x="3217" y="3806"/>
                  </a:lnTo>
                  <a:lnTo>
                    <a:pt x="3248" y="3811"/>
                  </a:lnTo>
                  <a:lnTo>
                    <a:pt x="3285" y="3817"/>
                  </a:lnTo>
                  <a:lnTo>
                    <a:pt x="3325" y="3823"/>
                  </a:lnTo>
                  <a:lnTo>
                    <a:pt x="3366" y="3826"/>
                  </a:lnTo>
                  <a:lnTo>
                    <a:pt x="3386" y="3827"/>
                  </a:lnTo>
                  <a:lnTo>
                    <a:pt x="3406" y="3827"/>
                  </a:lnTo>
                  <a:lnTo>
                    <a:pt x="3426" y="3826"/>
                  </a:lnTo>
                  <a:lnTo>
                    <a:pt x="3444" y="3824"/>
                  </a:lnTo>
                  <a:lnTo>
                    <a:pt x="3462" y="3820"/>
                  </a:lnTo>
                  <a:lnTo>
                    <a:pt x="3479" y="3814"/>
                  </a:lnTo>
                  <a:lnTo>
                    <a:pt x="3486" y="3811"/>
                  </a:lnTo>
                  <a:lnTo>
                    <a:pt x="3494" y="3808"/>
                  </a:lnTo>
                  <a:lnTo>
                    <a:pt x="3500" y="3803"/>
                  </a:lnTo>
                  <a:lnTo>
                    <a:pt x="3506" y="3798"/>
                  </a:lnTo>
                  <a:lnTo>
                    <a:pt x="3523" y="3784"/>
                  </a:lnTo>
                  <a:lnTo>
                    <a:pt x="3538" y="3769"/>
                  </a:lnTo>
                  <a:lnTo>
                    <a:pt x="3551" y="3753"/>
                  </a:lnTo>
                  <a:lnTo>
                    <a:pt x="3562" y="3736"/>
                  </a:lnTo>
                  <a:lnTo>
                    <a:pt x="3573" y="3719"/>
                  </a:lnTo>
                  <a:lnTo>
                    <a:pt x="3582" y="3701"/>
                  </a:lnTo>
                  <a:lnTo>
                    <a:pt x="3590" y="3684"/>
                  </a:lnTo>
                  <a:lnTo>
                    <a:pt x="3599" y="3665"/>
                  </a:lnTo>
                  <a:lnTo>
                    <a:pt x="3605" y="3646"/>
                  </a:lnTo>
                  <a:lnTo>
                    <a:pt x="3613" y="3627"/>
                  </a:lnTo>
                  <a:lnTo>
                    <a:pt x="3618" y="3607"/>
                  </a:lnTo>
                  <a:lnTo>
                    <a:pt x="3625" y="3586"/>
                  </a:lnTo>
                  <a:lnTo>
                    <a:pt x="3636" y="3546"/>
                  </a:lnTo>
                  <a:lnTo>
                    <a:pt x="3644" y="3506"/>
                  </a:lnTo>
                  <a:lnTo>
                    <a:pt x="3653" y="3466"/>
                  </a:lnTo>
                  <a:lnTo>
                    <a:pt x="3661" y="3428"/>
                  </a:lnTo>
                  <a:lnTo>
                    <a:pt x="3672" y="3381"/>
                  </a:lnTo>
                  <a:lnTo>
                    <a:pt x="3683" y="3334"/>
                  </a:lnTo>
                  <a:lnTo>
                    <a:pt x="3696" y="3287"/>
                  </a:lnTo>
                  <a:lnTo>
                    <a:pt x="3711" y="3242"/>
                  </a:lnTo>
                  <a:lnTo>
                    <a:pt x="3718" y="3220"/>
                  </a:lnTo>
                  <a:lnTo>
                    <a:pt x="3727" y="3197"/>
                  </a:lnTo>
                  <a:lnTo>
                    <a:pt x="3737" y="3174"/>
                  </a:lnTo>
                  <a:lnTo>
                    <a:pt x="3746" y="3153"/>
                  </a:lnTo>
                  <a:lnTo>
                    <a:pt x="3758" y="3131"/>
                  </a:lnTo>
                  <a:lnTo>
                    <a:pt x="3770" y="3111"/>
                  </a:lnTo>
                  <a:lnTo>
                    <a:pt x="3783" y="3090"/>
                  </a:lnTo>
                  <a:lnTo>
                    <a:pt x="3797" y="3070"/>
                  </a:lnTo>
                  <a:lnTo>
                    <a:pt x="3809" y="3053"/>
                  </a:lnTo>
                  <a:lnTo>
                    <a:pt x="3823" y="3038"/>
                  </a:lnTo>
                  <a:lnTo>
                    <a:pt x="3837" y="3023"/>
                  </a:lnTo>
                  <a:lnTo>
                    <a:pt x="3852" y="3008"/>
                  </a:lnTo>
                  <a:lnTo>
                    <a:pt x="3867" y="2995"/>
                  </a:lnTo>
                  <a:lnTo>
                    <a:pt x="3883" y="2982"/>
                  </a:lnTo>
                  <a:lnTo>
                    <a:pt x="3900" y="2970"/>
                  </a:lnTo>
                  <a:lnTo>
                    <a:pt x="3916" y="2958"/>
                  </a:lnTo>
                  <a:lnTo>
                    <a:pt x="3952" y="2937"/>
                  </a:lnTo>
                  <a:lnTo>
                    <a:pt x="3988" y="2916"/>
                  </a:lnTo>
                  <a:lnTo>
                    <a:pt x="4025" y="2897"/>
                  </a:lnTo>
                  <a:lnTo>
                    <a:pt x="4063" y="2880"/>
                  </a:lnTo>
                  <a:lnTo>
                    <a:pt x="4089" y="2867"/>
                  </a:lnTo>
                  <a:lnTo>
                    <a:pt x="4122" y="2852"/>
                  </a:lnTo>
                  <a:lnTo>
                    <a:pt x="4156" y="2835"/>
                  </a:lnTo>
                  <a:lnTo>
                    <a:pt x="4191" y="2815"/>
                  </a:lnTo>
                  <a:lnTo>
                    <a:pt x="4208" y="2806"/>
                  </a:lnTo>
                  <a:lnTo>
                    <a:pt x="4224" y="2794"/>
                  </a:lnTo>
                  <a:lnTo>
                    <a:pt x="4239" y="2783"/>
                  </a:lnTo>
                  <a:lnTo>
                    <a:pt x="4252" y="2770"/>
                  </a:lnTo>
                  <a:lnTo>
                    <a:pt x="4264" y="2758"/>
                  </a:lnTo>
                  <a:lnTo>
                    <a:pt x="4275" y="2745"/>
                  </a:lnTo>
                  <a:lnTo>
                    <a:pt x="4278" y="2738"/>
                  </a:lnTo>
                  <a:lnTo>
                    <a:pt x="4282" y="2731"/>
                  </a:lnTo>
                  <a:lnTo>
                    <a:pt x="4284" y="2725"/>
                  </a:lnTo>
                  <a:lnTo>
                    <a:pt x="4286" y="2717"/>
                  </a:lnTo>
                  <a:lnTo>
                    <a:pt x="4291" y="2701"/>
                  </a:lnTo>
                  <a:lnTo>
                    <a:pt x="4293" y="2684"/>
                  </a:lnTo>
                  <a:lnTo>
                    <a:pt x="4294" y="2668"/>
                  </a:lnTo>
                  <a:lnTo>
                    <a:pt x="4294" y="2651"/>
                  </a:lnTo>
                  <a:lnTo>
                    <a:pt x="4293" y="2631"/>
                  </a:lnTo>
                  <a:lnTo>
                    <a:pt x="4290" y="2612"/>
                  </a:lnTo>
                  <a:lnTo>
                    <a:pt x="4286" y="2592"/>
                  </a:lnTo>
                  <a:lnTo>
                    <a:pt x="4282" y="2571"/>
                  </a:lnTo>
                  <a:lnTo>
                    <a:pt x="4276" y="2551"/>
                  </a:lnTo>
                  <a:lnTo>
                    <a:pt x="4269" y="2530"/>
                  </a:lnTo>
                  <a:lnTo>
                    <a:pt x="4263" y="2510"/>
                  </a:lnTo>
                  <a:lnTo>
                    <a:pt x="4254" y="2490"/>
                  </a:lnTo>
                  <a:lnTo>
                    <a:pt x="4238" y="2450"/>
                  </a:lnTo>
                  <a:lnTo>
                    <a:pt x="4220" y="2411"/>
                  </a:lnTo>
                  <a:lnTo>
                    <a:pt x="4201" y="2373"/>
                  </a:lnTo>
                  <a:lnTo>
                    <a:pt x="4185" y="2338"/>
                  </a:lnTo>
                  <a:lnTo>
                    <a:pt x="4164" y="2294"/>
                  </a:lnTo>
                  <a:lnTo>
                    <a:pt x="4144" y="2250"/>
                  </a:lnTo>
                  <a:lnTo>
                    <a:pt x="4126" y="2204"/>
                  </a:lnTo>
                  <a:lnTo>
                    <a:pt x="4109" y="2158"/>
                  </a:lnTo>
                  <a:lnTo>
                    <a:pt x="4101" y="2136"/>
                  </a:lnTo>
                  <a:lnTo>
                    <a:pt x="4095" y="2112"/>
                  </a:lnTo>
                  <a:lnTo>
                    <a:pt x="4088" y="2089"/>
                  </a:lnTo>
                  <a:lnTo>
                    <a:pt x="4083" y="2066"/>
                  </a:lnTo>
                  <a:lnTo>
                    <a:pt x="4079" y="2041"/>
                  </a:lnTo>
                  <a:lnTo>
                    <a:pt x="4076" y="2017"/>
                  </a:lnTo>
                  <a:lnTo>
                    <a:pt x="4073" y="1993"/>
                  </a:lnTo>
                  <a:lnTo>
                    <a:pt x="4071" y="1969"/>
                  </a:lnTo>
                  <a:lnTo>
                    <a:pt x="4071" y="1947"/>
                  </a:lnTo>
                  <a:lnTo>
                    <a:pt x="4072" y="1927"/>
                  </a:lnTo>
                  <a:lnTo>
                    <a:pt x="4076" y="1908"/>
                  </a:lnTo>
                  <a:lnTo>
                    <a:pt x="4079" y="1887"/>
                  </a:lnTo>
                  <a:lnTo>
                    <a:pt x="4083" y="1867"/>
                  </a:lnTo>
                  <a:lnTo>
                    <a:pt x="4087" y="1847"/>
                  </a:lnTo>
                  <a:lnTo>
                    <a:pt x="4094" y="1828"/>
                  </a:lnTo>
                  <a:lnTo>
                    <a:pt x="4100" y="1809"/>
                  </a:lnTo>
                  <a:lnTo>
                    <a:pt x="4115" y="1771"/>
                  </a:lnTo>
                  <a:lnTo>
                    <a:pt x="4133" y="1734"/>
                  </a:lnTo>
                  <a:lnTo>
                    <a:pt x="4152" y="1698"/>
                  </a:lnTo>
                  <a:lnTo>
                    <a:pt x="4171" y="1662"/>
                  </a:lnTo>
                  <a:lnTo>
                    <a:pt x="4185" y="1637"/>
                  </a:lnTo>
                  <a:lnTo>
                    <a:pt x="4201" y="1608"/>
                  </a:lnTo>
                  <a:lnTo>
                    <a:pt x="4219" y="1574"/>
                  </a:lnTo>
                  <a:lnTo>
                    <a:pt x="4235" y="1540"/>
                  </a:lnTo>
                  <a:lnTo>
                    <a:pt x="4242" y="1523"/>
                  </a:lnTo>
                  <a:lnTo>
                    <a:pt x="4248" y="1505"/>
                  </a:lnTo>
                  <a:lnTo>
                    <a:pt x="4253" y="1488"/>
                  </a:lnTo>
                  <a:lnTo>
                    <a:pt x="4256" y="1471"/>
                  </a:lnTo>
                  <a:lnTo>
                    <a:pt x="4258" y="1455"/>
                  </a:lnTo>
                  <a:lnTo>
                    <a:pt x="4258" y="1439"/>
                  </a:lnTo>
                  <a:lnTo>
                    <a:pt x="4257" y="1431"/>
                  </a:lnTo>
                  <a:lnTo>
                    <a:pt x="4256" y="1424"/>
                  </a:lnTo>
                  <a:lnTo>
                    <a:pt x="4254" y="1417"/>
                  </a:lnTo>
                  <a:lnTo>
                    <a:pt x="4252" y="1410"/>
                  </a:lnTo>
                  <a:lnTo>
                    <a:pt x="4245" y="1398"/>
                  </a:lnTo>
                  <a:lnTo>
                    <a:pt x="4239" y="1385"/>
                  </a:lnTo>
                  <a:lnTo>
                    <a:pt x="4231" y="1373"/>
                  </a:lnTo>
                  <a:lnTo>
                    <a:pt x="4223" y="1361"/>
                  </a:lnTo>
                  <a:lnTo>
                    <a:pt x="4210" y="1345"/>
                  </a:lnTo>
                  <a:lnTo>
                    <a:pt x="4196" y="1330"/>
                  </a:lnTo>
                  <a:lnTo>
                    <a:pt x="4180" y="1314"/>
                  </a:lnTo>
                  <a:lnTo>
                    <a:pt x="4164" y="1300"/>
                  </a:lnTo>
                  <a:lnTo>
                    <a:pt x="4147" y="1286"/>
                  </a:lnTo>
                  <a:lnTo>
                    <a:pt x="4127" y="1272"/>
                  </a:lnTo>
                  <a:lnTo>
                    <a:pt x="4109" y="1259"/>
                  </a:lnTo>
                  <a:lnTo>
                    <a:pt x="4088" y="1246"/>
                  </a:lnTo>
                  <a:lnTo>
                    <a:pt x="4049" y="1221"/>
                  </a:lnTo>
                  <a:lnTo>
                    <a:pt x="4009" y="1199"/>
                  </a:lnTo>
                  <a:lnTo>
                    <a:pt x="3969" y="1177"/>
                  </a:lnTo>
                  <a:lnTo>
                    <a:pt x="3932" y="1158"/>
                  </a:lnTo>
                  <a:lnTo>
                    <a:pt x="3888" y="1134"/>
                  </a:lnTo>
                  <a:lnTo>
                    <a:pt x="3845" y="1110"/>
                  </a:lnTo>
                  <a:lnTo>
                    <a:pt x="3803" y="1084"/>
                  </a:lnTo>
                  <a:lnTo>
                    <a:pt x="3761" y="1057"/>
                  </a:lnTo>
                  <a:lnTo>
                    <a:pt x="3741" y="1043"/>
                  </a:lnTo>
                  <a:lnTo>
                    <a:pt x="3722" y="1028"/>
                  </a:lnTo>
                  <a:lnTo>
                    <a:pt x="3702" y="1012"/>
                  </a:lnTo>
                  <a:lnTo>
                    <a:pt x="3683" y="996"/>
                  </a:lnTo>
                  <a:lnTo>
                    <a:pt x="3666" y="980"/>
                  </a:lnTo>
                  <a:lnTo>
                    <a:pt x="3647" y="962"/>
                  </a:lnTo>
                  <a:lnTo>
                    <a:pt x="3631" y="944"/>
                  </a:lnTo>
                  <a:lnTo>
                    <a:pt x="3615" y="925"/>
                  </a:lnTo>
                  <a:lnTo>
                    <a:pt x="3602" y="909"/>
                  </a:lnTo>
                  <a:lnTo>
                    <a:pt x="3590" y="891"/>
                  </a:lnTo>
                  <a:lnTo>
                    <a:pt x="3580" y="874"/>
                  </a:lnTo>
                  <a:lnTo>
                    <a:pt x="3571" y="857"/>
                  </a:lnTo>
                  <a:lnTo>
                    <a:pt x="3562" y="839"/>
                  </a:lnTo>
                  <a:lnTo>
                    <a:pt x="3554" y="820"/>
                  </a:lnTo>
                  <a:lnTo>
                    <a:pt x="3547" y="801"/>
                  </a:lnTo>
                  <a:lnTo>
                    <a:pt x="3541" y="782"/>
                  </a:lnTo>
                  <a:lnTo>
                    <a:pt x="3529" y="744"/>
                  </a:lnTo>
                  <a:lnTo>
                    <a:pt x="3520" y="704"/>
                  </a:lnTo>
                  <a:lnTo>
                    <a:pt x="3513" y="664"/>
                  </a:lnTo>
                  <a:lnTo>
                    <a:pt x="3506" y="625"/>
                  </a:lnTo>
                  <a:lnTo>
                    <a:pt x="3502" y="595"/>
                  </a:lnTo>
                  <a:lnTo>
                    <a:pt x="3497" y="560"/>
                  </a:lnTo>
                  <a:lnTo>
                    <a:pt x="3491" y="524"/>
                  </a:lnTo>
                  <a:lnTo>
                    <a:pt x="3483" y="486"/>
                  </a:lnTo>
                  <a:lnTo>
                    <a:pt x="3477" y="468"/>
                  </a:lnTo>
                  <a:lnTo>
                    <a:pt x="3471" y="450"/>
                  </a:lnTo>
                  <a:lnTo>
                    <a:pt x="3465" y="434"/>
                  </a:lnTo>
                  <a:lnTo>
                    <a:pt x="3457" y="418"/>
                  </a:lnTo>
                  <a:lnTo>
                    <a:pt x="3447" y="404"/>
                  </a:lnTo>
                  <a:lnTo>
                    <a:pt x="3438" y="391"/>
                  </a:lnTo>
                  <a:lnTo>
                    <a:pt x="3432" y="386"/>
                  </a:lnTo>
                  <a:lnTo>
                    <a:pt x="3426" y="381"/>
                  </a:lnTo>
                  <a:lnTo>
                    <a:pt x="3420" y="375"/>
                  </a:lnTo>
                  <a:lnTo>
                    <a:pt x="3414" y="371"/>
                  </a:lnTo>
                  <a:lnTo>
                    <a:pt x="3399" y="363"/>
                  </a:lnTo>
                  <a:lnTo>
                    <a:pt x="3385" y="357"/>
                  </a:lnTo>
                  <a:lnTo>
                    <a:pt x="3370" y="350"/>
                  </a:lnTo>
                  <a:lnTo>
                    <a:pt x="3354" y="345"/>
                  </a:lnTo>
                  <a:lnTo>
                    <a:pt x="3333" y="340"/>
                  </a:lnTo>
                  <a:lnTo>
                    <a:pt x="3312" y="335"/>
                  </a:lnTo>
                  <a:lnTo>
                    <a:pt x="3290" y="332"/>
                  </a:lnTo>
                  <a:lnTo>
                    <a:pt x="3268" y="330"/>
                  </a:lnTo>
                  <a:lnTo>
                    <a:pt x="3244" y="329"/>
                  </a:lnTo>
                  <a:lnTo>
                    <a:pt x="3221" y="328"/>
                  </a:lnTo>
                  <a:lnTo>
                    <a:pt x="3198" y="328"/>
                  </a:lnTo>
                  <a:lnTo>
                    <a:pt x="3174" y="329"/>
                  </a:lnTo>
                  <a:lnTo>
                    <a:pt x="3127" y="331"/>
                  </a:lnTo>
                  <a:lnTo>
                    <a:pt x="3079" y="335"/>
                  </a:lnTo>
                  <a:lnTo>
                    <a:pt x="3034" y="341"/>
                  </a:lnTo>
                  <a:lnTo>
                    <a:pt x="2991" y="345"/>
                  </a:lnTo>
                  <a:lnTo>
                    <a:pt x="2942" y="350"/>
                  </a:lnTo>
                  <a:lnTo>
                    <a:pt x="2892" y="355"/>
                  </a:lnTo>
                  <a:lnTo>
                    <a:pt x="2843" y="358"/>
                  </a:lnTo>
                  <a:lnTo>
                    <a:pt x="2793" y="359"/>
                  </a:lnTo>
                  <a:lnTo>
                    <a:pt x="2767" y="359"/>
                  </a:lnTo>
                  <a:lnTo>
                    <a:pt x="2743" y="358"/>
                  </a:lnTo>
                  <a:lnTo>
                    <a:pt x="2718" y="356"/>
                  </a:lnTo>
                  <a:lnTo>
                    <a:pt x="2693" y="354"/>
                  </a:lnTo>
                  <a:lnTo>
                    <a:pt x="2670" y="350"/>
                  </a:lnTo>
                  <a:lnTo>
                    <a:pt x="2645" y="346"/>
                  </a:lnTo>
                  <a:lnTo>
                    <a:pt x="2620" y="341"/>
                  </a:lnTo>
                  <a:lnTo>
                    <a:pt x="2596" y="334"/>
                  </a:lnTo>
                  <a:lnTo>
                    <a:pt x="2576" y="329"/>
                  </a:lnTo>
                  <a:lnTo>
                    <a:pt x="2557" y="321"/>
                  </a:lnTo>
                  <a:lnTo>
                    <a:pt x="2538" y="314"/>
                  </a:lnTo>
                  <a:lnTo>
                    <a:pt x="2520" y="305"/>
                  </a:lnTo>
                  <a:lnTo>
                    <a:pt x="2502" y="296"/>
                  </a:lnTo>
                  <a:lnTo>
                    <a:pt x="2485" y="285"/>
                  </a:lnTo>
                  <a:lnTo>
                    <a:pt x="2467" y="274"/>
                  </a:lnTo>
                  <a:lnTo>
                    <a:pt x="2451" y="262"/>
                  </a:lnTo>
                  <a:lnTo>
                    <a:pt x="2419" y="238"/>
                  </a:lnTo>
                  <a:lnTo>
                    <a:pt x="2388" y="212"/>
                  </a:lnTo>
                  <a:lnTo>
                    <a:pt x="2358" y="184"/>
                  </a:lnTo>
                  <a:lnTo>
                    <a:pt x="2328" y="156"/>
                  </a:lnTo>
                  <a:lnTo>
                    <a:pt x="2305" y="133"/>
                  </a:lnTo>
                  <a:lnTo>
                    <a:pt x="2279" y="107"/>
                  </a:lnTo>
                  <a:lnTo>
                    <a:pt x="2250" y="81"/>
                  </a:lnTo>
                  <a:lnTo>
                    <a:pt x="2220" y="55"/>
                  </a:lnTo>
                  <a:lnTo>
                    <a:pt x="2204" y="43"/>
                  </a:lnTo>
                  <a:lnTo>
                    <a:pt x="2188" y="32"/>
                  </a:lnTo>
                  <a:lnTo>
                    <a:pt x="2172" y="22"/>
                  </a:lnTo>
                  <a:lnTo>
                    <a:pt x="2155" y="14"/>
                  </a:lnTo>
                  <a:lnTo>
                    <a:pt x="2138" y="7"/>
                  </a:lnTo>
                  <a:lnTo>
                    <a:pt x="2122" y="3"/>
                  </a:lnTo>
                  <a:lnTo>
                    <a:pt x="2113" y="1"/>
                  </a:lnTo>
                  <a:lnTo>
                    <a:pt x="2106" y="0"/>
                  </a:lnTo>
                  <a:lnTo>
                    <a:pt x="2097" y="0"/>
                  </a:lnTo>
                  <a:lnTo>
                    <a:pt x="208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Rectangle 63"/>
            <p:cNvSpPr>
              <a:spLocks noChangeArrowheads="1"/>
            </p:cNvSpPr>
            <p:nvPr/>
          </p:nvSpPr>
          <p:spPr bwMode="auto">
            <a:xfrm>
              <a:off x="5962759" y="2433639"/>
              <a:ext cx="9938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342900" indent="-342900" defTabSz="895350"/>
              <a:r>
                <a:rPr lang="en-GB" sz="1400" dirty="0">
                  <a:solidFill>
                    <a:srgbClr val="000000"/>
                  </a:solidFill>
                </a:rPr>
                <a:t>1</a:t>
              </a:r>
            </a:p>
          </p:txBody>
        </p:sp>
      </p:grpSp>
      <p:sp>
        <p:nvSpPr>
          <p:cNvPr id="77" name="Rectangle 12"/>
          <p:cNvSpPr txBox="1"/>
          <p:nvPr/>
        </p:nvSpPr>
        <p:spPr>
          <a:xfrm>
            <a:off x="8067422" y="2535913"/>
            <a:ext cx="7572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April’15</a:t>
            </a:r>
          </a:p>
        </p:txBody>
      </p:sp>
      <p:sp>
        <p:nvSpPr>
          <p:cNvPr id="78" name="Rectangle 12"/>
          <p:cNvSpPr txBox="1"/>
          <p:nvPr/>
        </p:nvSpPr>
        <p:spPr>
          <a:xfrm>
            <a:off x="7358262" y="2535913"/>
            <a:ext cx="7477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July’14</a:t>
            </a:r>
          </a:p>
        </p:txBody>
      </p:sp>
      <p:sp>
        <p:nvSpPr>
          <p:cNvPr id="79" name="Rectangle 55"/>
          <p:cNvSpPr>
            <a:spLocks noChangeArrowheads="1"/>
          </p:cNvSpPr>
          <p:nvPr/>
        </p:nvSpPr>
        <p:spPr bwMode="auto">
          <a:xfrm>
            <a:off x="7561693" y="5111194"/>
            <a:ext cx="19877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GB" sz="1400" dirty="0">
                <a:solidFill>
                  <a:srgbClr val="000000"/>
                </a:solidFill>
              </a:rPr>
              <a:t>26</a:t>
            </a:r>
          </a:p>
        </p:txBody>
      </p:sp>
      <p:sp>
        <p:nvSpPr>
          <p:cNvPr id="80" name="Rectangle 55"/>
          <p:cNvSpPr>
            <a:spLocks noChangeArrowheads="1"/>
          </p:cNvSpPr>
          <p:nvPr/>
        </p:nvSpPr>
        <p:spPr bwMode="auto">
          <a:xfrm>
            <a:off x="7661079" y="3507132"/>
            <a:ext cx="993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GB" sz="14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81" name="Rectangle 55"/>
          <p:cNvSpPr>
            <a:spLocks noChangeArrowheads="1"/>
          </p:cNvSpPr>
          <p:nvPr/>
        </p:nvSpPr>
        <p:spPr bwMode="auto">
          <a:xfrm>
            <a:off x="7661079" y="2827676"/>
            <a:ext cx="993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GB" sz="14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82" name="Rectangle 55"/>
          <p:cNvSpPr>
            <a:spLocks noChangeArrowheads="1"/>
          </p:cNvSpPr>
          <p:nvPr/>
        </p:nvSpPr>
        <p:spPr bwMode="auto">
          <a:xfrm>
            <a:off x="7661079" y="4288186"/>
            <a:ext cx="993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342900" indent="-342900" algn="r" defTabSz="895350"/>
            <a:r>
              <a:rPr lang="en-GB" sz="1400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83" name="Rectangle 93"/>
          <p:cNvSpPr>
            <a:spLocks noChangeArrowheads="1"/>
          </p:cNvSpPr>
          <p:nvPr/>
        </p:nvSpPr>
        <p:spPr bwMode="gray">
          <a:xfrm>
            <a:off x="5689147" y="5534661"/>
            <a:ext cx="306636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30-50% increase in key accounts market share expected by 2015 end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pic>
        <p:nvPicPr>
          <p:cNvPr id="19496" name="Picture 40"/>
          <p:cNvPicPr>
            <a:picLocks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00" y="4629161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EA6A7556-8FB0-2A43-9D23-E21BB372D7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4805" y="-12646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37F9E6E-E466-9E41-9646-00C745EE60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2646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35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151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BAN035_Executed a complete sales transformation with focused efforts on the retail channel in a leading Asset management compan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f9BVki2EOmxONjLfwF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TKjHppBEKajTD65SXH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VuEfKAk2Uv21wLGzu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51tqKzAkagfOEYkj_4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E.hi6KEaxQQBq0SYe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6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5</TotalTime>
  <Words>235</Words>
  <Application>Microsoft Macintosh PowerPoint</Application>
  <PresentationFormat>Custom</PresentationFormat>
  <Paragraphs>4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26_AW2014</vt:lpstr>
      <vt:lpstr>think-cell Slide</vt:lpstr>
      <vt:lpstr>Leading asset management company in Asia – we executed a complete sales transformation with focused efforts on the retail channel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ing asset management company in India – we executed a complete sales transformation with focused efforts on the retail channel</dc:title>
  <dc:creator>Michelle Chua</dc:creator>
  <cp:lastModifiedBy>Petra Vincent</cp:lastModifiedBy>
  <cp:revision>8</cp:revision>
  <cp:lastPrinted>2008-09-19T11:06:26Z</cp:lastPrinted>
  <dcterms:created xsi:type="dcterms:W3CDTF">2015-06-24T02:01:08Z</dcterms:created>
  <dcterms:modified xsi:type="dcterms:W3CDTF">2019-03-18T12:3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